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751" r:id="rId4"/>
    <p:sldMasterId id="2147483738" r:id="rId5"/>
  </p:sldMasterIdLst>
  <p:notesMasterIdLst>
    <p:notesMasterId r:id="rId12"/>
  </p:notesMasterIdLst>
  <p:handoutMasterIdLst>
    <p:handoutMasterId r:id="rId13"/>
  </p:handoutMasterIdLst>
  <p:sldIdLst>
    <p:sldId id="731" r:id="rId6"/>
    <p:sldId id="1846" r:id="rId7"/>
    <p:sldId id="1995" r:id="rId8"/>
    <p:sldId id="1994" r:id="rId9"/>
    <p:sldId id="732" r:id="rId10"/>
    <p:sldId id="1993" r:id="rId11"/>
  </p:sldIdLst>
  <p:sldSz cx="9906000" cy="6858000" type="A4"/>
  <p:notesSz cx="6794500" cy="99314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Calibri Light" panose="020F0302020204030204" pitchFamily="34" charset="0"/>
      <p:regular r:id="rId18"/>
      <p:italic r:id="rId19"/>
    </p:embeddedFont>
    <p:embeddedFont>
      <p:font typeface="IBM Plex Sans Light" panose="020B0403050203000203" pitchFamily="34" charset="0"/>
      <p:regular r:id="rId20"/>
      <p:italic r:id="rId21"/>
    </p:embeddedFont>
    <p:embeddedFont>
      <p:font typeface="IBM Plex Sans Medium" panose="020B0603050203000203" pitchFamily="34" charset="0"/>
      <p:regular r:id="rId22"/>
      <p:italic r:id="rId23"/>
    </p:embeddedFont>
    <p:embeddedFont>
      <p:font typeface="IBM Plex Sans SemiBold" panose="020B0703050203000203" pitchFamily="34" charset="0"/>
      <p:regular r:id="rId24"/>
      <p:bold r:id="rId25"/>
      <p:italic r:id="rId26"/>
      <p:boldItalic r:id="rId27"/>
    </p:embeddedFont>
    <p:embeddedFont>
      <p:font typeface="Open Sans" panose="020B0606030504020204" pitchFamily="34" charset="0"/>
      <p:regular r:id="rId28"/>
    </p:embeddedFont>
    <p:embeddedFont>
      <p:font typeface="Poppins" panose="00000500000000000000" pitchFamily="2" charset="0"/>
      <p:regular r:id="rId29"/>
      <p:bold r:id="rId30"/>
      <p:italic r:id="rId31"/>
      <p:boldItalic r:id="rId32"/>
    </p:embeddedFont>
    <p:embeddedFont>
      <p:font typeface="Poppins Medium" panose="00000600000000000000" pitchFamily="2" charset="0"/>
      <p:regular r:id="rId33"/>
      <p:italic r:id="rId34"/>
    </p:embeddedFont>
    <p:embeddedFont>
      <p:font typeface="Raleway" pitchFamily="2" charset="0"/>
      <p:regular r:id="rId35"/>
      <p:bold r:id="rId36"/>
      <p:italic r:id="rId37"/>
      <p:boldItalic r:id="rId38"/>
    </p:embeddedFont>
  </p:embeddedFontLst>
  <p:custDataLst>
    <p:tags r:id="rId39"/>
  </p:custDataLst>
  <p:defaultTextStyle>
    <a:defPPr>
      <a:defRPr lang="en-US"/>
    </a:defPPr>
    <a:lvl1pPr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une johansen" initials="rj" lastIdx="1" clrIdx="0">
    <p:extLst>
      <p:ext uri="{19B8F6BF-5375-455C-9EA6-DF929625EA0E}">
        <p15:presenceInfo xmlns:p15="http://schemas.microsoft.com/office/powerpoint/2012/main" userId="a5ca7d38af8eb9e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9AAF"/>
    <a:srgbClr val="7DD8C7"/>
    <a:srgbClr val="F2F2F2"/>
    <a:srgbClr val="BFBFBF"/>
    <a:srgbClr val="F5FFC3"/>
    <a:srgbClr val="E614D7"/>
    <a:srgbClr val="1EABD9"/>
    <a:srgbClr val="1994CB"/>
    <a:srgbClr val="107AAB"/>
    <a:srgbClr val="064F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93620E8-BB14-48AD-A676-D8569BB32CCB}" v="42" dt="2021-11-13T11:52:16.4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96" autoAdjust="0"/>
    <p:restoredTop sz="95673" autoAdjust="0"/>
  </p:normalViewPr>
  <p:slideViewPr>
    <p:cSldViewPr snapToGrid="0">
      <p:cViewPr>
        <p:scale>
          <a:sx n="66" d="100"/>
          <a:sy n="66" d="100"/>
        </p:scale>
        <p:origin x="883" y="28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346"/>
    </p:cViewPr>
  </p:sorterViewPr>
  <p:notesViewPr>
    <p:cSldViewPr snapToGrid="0">
      <p:cViewPr varScale="1">
        <p:scale>
          <a:sx n="63" d="100"/>
          <a:sy n="63" d="100"/>
        </p:scale>
        <p:origin x="341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9" Type="http://schemas.openxmlformats.org/officeDocument/2006/relationships/tags" Target="tags/tag1.xml"/><Relationship Id="rId21" Type="http://schemas.openxmlformats.org/officeDocument/2006/relationships/font" Target="fonts/font8.fntdata"/><Relationship Id="rId34" Type="http://schemas.openxmlformats.org/officeDocument/2006/relationships/font" Target="fonts/font21.fntdata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9" Type="http://schemas.openxmlformats.org/officeDocument/2006/relationships/font" Target="fonts/font16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11.fntdata"/><Relationship Id="rId32" Type="http://schemas.openxmlformats.org/officeDocument/2006/relationships/font" Target="fonts/font19.fntdata"/><Relationship Id="rId37" Type="http://schemas.openxmlformats.org/officeDocument/2006/relationships/font" Target="fonts/font24.fntdata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openxmlformats.org/officeDocument/2006/relationships/font" Target="fonts/font23.fntdata"/><Relationship Id="rId10" Type="http://schemas.openxmlformats.org/officeDocument/2006/relationships/slide" Target="slides/slide5.xml"/><Relationship Id="rId19" Type="http://schemas.openxmlformats.org/officeDocument/2006/relationships/font" Target="fonts/font6.fntdata"/><Relationship Id="rId31" Type="http://schemas.openxmlformats.org/officeDocument/2006/relationships/font" Target="fonts/font18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font" Target="fonts/font22.fntdata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font" Target="fonts/font20.fntdata"/><Relationship Id="rId38" Type="http://schemas.openxmlformats.org/officeDocument/2006/relationships/font" Target="fonts/font25.fntdata"/><Relationship Id="rId20" Type="http://schemas.openxmlformats.org/officeDocument/2006/relationships/font" Target="fonts/font7.fntdata"/><Relationship Id="rId4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95050525276573"/>
          <c:y val="0.23428760186195688"/>
          <c:w val="0.53932980012113874"/>
          <c:h val="0.80899463893135681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left employees</c:v>
                </c:pt>
              </c:strCache>
            </c:strRef>
          </c:tx>
          <c:spPr>
            <a:ln w="34925" cap="rnd">
              <a:solidFill>
                <a:srgbClr val="7DD8C7"/>
              </a:solidFill>
              <a:round/>
            </a:ln>
            <a:effectLst>
              <a:outerShdw dir="5400000" rotWithShape="0">
                <a:srgbClr val="509AAF">
                  <a:alpha val="35000"/>
                </a:srgbClr>
              </a:outerShdw>
            </a:effectLst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34925" cap="rnd">
                <a:solidFill>
                  <a:srgbClr val="7DD8C7"/>
                </a:solidFill>
                <a:round/>
              </a:ln>
              <a:effectLst>
                <a:outerShdw dir="5400000" rotWithShape="0">
                  <a:srgbClr val="7DD8C7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AFF9-4789-B228-EE14F9E61654}"/>
              </c:ext>
            </c:extLst>
          </c:dPt>
          <c:dLbls>
            <c:dLbl>
              <c:idx val="1"/>
              <c:layout>
                <c:manualLayout>
                  <c:x val="-3.7500075711689888E-2"/>
                  <c:y val="-3.8942191176393762E-2"/>
                </c:manualLayout>
              </c:layout>
              <c:spPr>
                <a:solidFill>
                  <a:srgbClr val="FFFFFF"/>
                </a:solidFill>
                <a:ln>
                  <a:solidFill>
                    <a:srgbClr val="7DD8C7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509AAF"/>
                      </a:solidFill>
                      <a:latin typeface="IBM Plex Sans Light" panose="020B04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5.6892337976983627E-2"/>
                      <c:h val="5.81529332107106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FF9-4789-B228-EE14F9E61654}"/>
                </c:ext>
              </c:extLst>
            </c:dLbl>
            <c:spPr>
              <a:solidFill>
                <a:srgbClr val="FFFFFF"/>
              </a:solidFill>
              <a:ln>
                <a:solidFill>
                  <a:srgbClr val="7DD8C7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 Light" panose="020B04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reer development</c:v>
                </c:pt>
                <c:pt idx="1">
                  <c:v>Career development</c:v>
                </c:pt>
                <c:pt idx="2">
                  <c:v>Education</c:v>
                </c:pt>
                <c:pt idx="3">
                  <c:v>Work environment</c:v>
                </c:pt>
                <c:pt idx="4">
                  <c:v>Relocation</c:v>
                </c:pt>
                <c:pt idx="5">
                  <c:v>Work life balance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2</c:v>
                </c:pt>
                <c:pt idx="1">
                  <c:v>24</c:v>
                </c:pt>
                <c:pt idx="2">
                  <c:v>7</c:v>
                </c:pt>
                <c:pt idx="3">
                  <c:v>2</c:v>
                </c:pt>
                <c:pt idx="4">
                  <c:v>5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F9-4789-B228-EE14F9E616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  </c:v>
                </c:pt>
              </c:strCache>
            </c:strRef>
          </c:tx>
          <c:spPr>
            <a:ln w="34925" cap="rnd">
              <a:solidFill>
                <a:schemeClr val="accent2">
                  <a:tint val="77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spPr>
              <a:solidFill>
                <a:schemeClr val="lt1"/>
              </a:solidFill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Career development</c:v>
                </c:pt>
                <c:pt idx="1">
                  <c:v>Career development</c:v>
                </c:pt>
                <c:pt idx="2">
                  <c:v>Education</c:v>
                </c:pt>
                <c:pt idx="3">
                  <c:v>Work environment</c:v>
                </c:pt>
                <c:pt idx="4">
                  <c:v>Relocation</c:v>
                </c:pt>
                <c:pt idx="5">
                  <c:v>Work life balanc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AFF9-4789-B228-EE14F9E616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9369999"/>
        <c:axId val="1519377903"/>
      </c:radarChart>
      <c:catAx>
        <c:axId val="1519369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1197" b="0" i="0" u="none" strike="noStrike" kern="1200" baseline="0">
                <a:solidFill>
                  <a:srgbClr val="F2F2F2"/>
                </a:solidFill>
                <a:latin typeface="IBM Plex Sans Light" panose="020B0403050203000203" pitchFamily="34" charset="0"/>
                <a:ea typeface="+mn-ea"/>
                <a:cs typeface="+mn-cs"/>
              </a:defRPr>
            </a:pPr>
            <a:endParaRPr lang="en-US"/>
          </a:p>
        </c:txPr>
        <c:crossAx val="1519377903"/>
        <c:crosses val="autoZero"/>
        <c:auto val="1"/>
        <c:lblAlgn val="ctr"/>
        <c:lblOffset val="100"/>
        <c:noMultiLvlLbl val="0"/>
      </c:catAx>
      <c:valAx>
        <c:axId val="1519377903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519369999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 Light" panose="020B0403050203000203" pitchFamily="34" charset="0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delete val="1"/>
      </c:legendEntry>
      <c:layout>
        <c:manualLayout>
          <c:xMode val="edge"/>
          <c:yMode val="edge"/>
          <c:x val="7.8136494894662303E-2"/>
          <c:y val="0.93478867877567307"/>
          <c:w val="0.3712969686452135"/>
          <c:h val="5.5503402823788392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F2F2F2"/>
              </a:solidFill>
              <a:latin typeface="IBM Plex Sans Light" panose="020B04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95050525276573"/>
          <c:y val="0.23428760186195688"/>
          <c:w val="0.53932980012113874"/>
          <c:h val="0.80899463893135681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left employees</c:v>
                </c:pt>
              </c:strCache>
            </c:strRef>
          </c:tx>
          <c:spPr>
            <a:ln w="34925" cap="rnd">
              <a:solidFill>
                <a:srgbClr val="7DD8C7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dLbl>
              <c:idx val="1"/>
              <c:layout>
                <c:manualLayout>
                  <c:x val="-3.7500075711689888E-2"/>
                  <c:y val="-3.8942191176393762E-2"/>
                </c:manualLayout>
              </c:layout>
              <c:spPr>
                <a:solidFill>
                  <a:srgbClr val="FFFFFF"/>
                </a:solidFill>
                <a:ln>
                  <a:solidFill>
                    <a:srgbClr val="003F62">
                      <a:lumMod val="25000"/>
                      <a:lumOff val="75000"/>
                    </a:srgb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509AA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5.6892337976983627E-2"/>
                      <c:h val="5.81529332107106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004-4470-9A3C-CB5135BB9226}"/>
                </c:ext>
              </c:extLst>
            </c:dLbl>
            <c:spPr>
              <a:solidFill>
                <a:srgbClr val="FFFFFF"/>
              </a:solidFill>
              <a:ln>
                <a:solidFill>
                  <a:srgbClr val="003F62">
                    <a:lumMod val="25000"/>
                    <a:lumOff val="75000"/>
                  </a:srgb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reer development</c:v>
                </c:pt>
                <c:pt idx="1">
                  <c:v>Career development</c:v>
                </c:pt>
                <c:pt idx="2">
                  <c:v>Education</c:v>
                </c:pt>
                <c:pt idx="3">
                  <c:v>Work environment</c:v>
                </c:pt>
                <c:pt idx="4">
                  <c:v>Relocation</c:v>
                </c:pt>
                <c:pt idx="5">
                  <c:v>Work life balance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2</c:v>
                </c:pt>
                <c:pt idx="1">
                  <c:v>24</c:v>
                </c:pt>
                <c:pt idx="2">
                  <c:v>7</c:v>
                </c:pt>
                <c:pt idx="3">
                  <c:v>2</c:v>
                </c:pt>
                <c:pt idx="4">
                  <c:v>5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04-4470-9A3C-CB5135BB92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  </c:v>
                </c:pt>
              </c:strCache>
            </c:strRef>
          </c:tx>
          <c:spPr>
            <a:ln w="34925" cap="rnd">
              <a:solidFill>
                <a:schemeClr val="accent2">
                  <a:tint val="77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spPr>
              <a:solidFill>
                <a:schemeClr val="lt1"/>
              </a:solidFill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Career development</c:v>
                </c:pt>
                <c:pt idx="1">
                  <c:v>Career development</c:v>
                </c:pt>
                <c:pt idx="2">
                  <c:v>Education</c:v>
                </c:pt>
                <c:pt idx="3">
                  <c:v>Work environment</c:v>
                </c:pt>
                <c:pt idx="4">
                  <c:v>Relocation</c:v>
                </c:pt>
                <c:pt idx="5">
                  <c:v>Work life balanc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3004-4470-9A3C-CB5135BB92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9369999"/>
        <c:axId val="1519377903"/>
      </c:radarChart>
      <c:catAx>
        <c:axId val="1519369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 Light" panose="020B0403050203000203" pitchFamily="34" charset="0"/>
                <a:ea typeface="+mn-ea"/>
                <a:cs typeface="+mn-cs"/>
              </a:defRPr>
            </a:pPr>
            <a:endParaRPr lang="en-US"/>
          </a:p>
        </c:txPr>
        <c:crossAx val="1519377903"/>
        <c:crosses val="autoZero"/>
        <c:auto val="1"/>
        <c:lblAlgn val="ctr"/>
        <c:lblOffset val="100"/>
        <c:noMultiLvlLbl val="0"/>
      </c:catAx>
      <c:valAx>
        <c:axId val="1519377903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519369999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delete val="1"/>
      </c:legendEntry>
      <c:layout>
        <c:manualLayout>
          <c:xMode val="edge"/>
          <c:yMode val="edge"/>
          <c:x val="9.1435950956300222E-2"/>
          <c:y val="0.94227233657401366"/>
          <c:w val="0.48833294691344759"/>
          <c:h val="5.5503402823788392E-2"/>
        </c:manualLayout>
      </c:layout>
      <c:overlay val="0"/>
      <c:spPr>
        <a:solidFill>
          <a:schemeClr val="bg1"/>
        </a:solidFill>
        <a:ln>
          <a:solidFill>
            <a:srgbClr val="7DD8C7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F2F2F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3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t" anchorCtr="0" compatLnSpc="1">
            <a:prstTxWarp prst="textNoShape">
              <a:avLst/>
            </a:prstTxWarp>
            <a:spAutoFit/>
          </a:bodyPr>
          <a:lstStyle>
            <a:lvl1pPr algn="l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6597663" y="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t" anchorCtr="0" compatLnSpc="1">
            <a:prstTxWarp prst="textNoShape">
              <a:avLst/>
            </a:prstTxWarp>
            <a:spAutoFit/>
          </a:bodyPr>
          <a:lstStyle>
            <a:lvl1pPr algn="r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3212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b" anchorCtr="0" compatLnSpc="1">
            <a:prstTxWarp prst="textNoShape">
              <a:avLst/>
            </a:prstTxWarp>
            <a:spAutoFit/>
          </a:bodyPr>
          <a:lstStyle>
            <a:lvl1pPr algn="l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09687" y="9630439"/>
            <a:ext cx="370659" cy="2798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b" anchorCtr="0" compatLnSpc="1">
            <a:prstTxWarp prst="textNoShape">
              <a:avLst/>
            </a:prstTxWarp>
            <a:spAutoFit/>
          </a:bodyPr>
          <a:lstStyle>
            <a:lvl1pPr algn="r" defTabSz="920615">
              <a:spcBef>
                <a:spcPct val="0"/>
              </a:spcBef>
              <a:defRPr b="1"/>
            </a:lvl1pPr>
          </a:lstStyle>
          <a:p>
            <a:fld id="{759B724C-78FC-4698-BDE4-19F15588D530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628533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t" anchorCtr="0" compatLnSpc="1">
            <a:prstTxWarp prst="textNoShape">
              <a:avLst/>
            </a:prstTxWarp>
          </a:bodyPr>
          <a:lstStyle>
            <a:lvl1pPr algn="l" defTabSz="917412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7072" y="1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t" anchorCtr="0" compatLnSpc="1">
            <a:prstTxWarp prst="textNoShape">
              <a:avLst/>
            </a:prstTxWarp>
          </a:bodyPr>
          <a:lstStyle>
            <a:lvl1pPr algn="r" defTabSz="917412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845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907" y="4715186"/>
            <a:ext cx="5382125" cy="1089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Klik for at redigere teksttypografien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5236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b" anchorCtr="0" compatLnSpc="1">
            <a:prstTxWarp prst="textNoShape">
              <a:avLst/>
            </a:prstTxWarp>
          </a:bodyPr>
          <a:lstStyle>
            <a:lvl1pPr algn="l" defTabSz="917412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7072" y="9435236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b" anchorCtr="0" compatLnSpc="1">
            <a:prstTxWarp prst="textNoShape">
              <a:avLst/>
            </a:prstTxWarp>
          </a:bodyPr>
          <a:lstStyle>
            <a:lvl1pPr algn="r" defTabSz="917412">
              <a:spcBef>
                <a:spcPct val="0"/>
              </a:spcBef>
              <a:defRPr/>
            </a:lvl1pPr>
          </a:lstStyle>
          <a:p>
            <a:fld id="{1D57CA6B-6BE3-424D-A16A-79990923526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53675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5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36525" indent="-134938" algn="l" rtl="0" eaLnBrk="0" fontAlgn="base" hangingPunct="0">
      <a:spcBef>
        <a:spcPct val="5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5750" indent="-147638" algn="l" rtl="0" eaLnBrk="0" fontAlgn="base" hangingPunct="0">
      <a:spcBef>
        <a:spcPct val="50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22275" indent="-134938" algn="l" rtl="0" eaLnBrk="0" fontAlgn="base" hangingPunct="0">
      <a:spcBef>
        <a:spcPct val="50000"/>
      </a:spcBef>
      <a:spcAft>
        <a:spcPct val="0"/>
      </a:spcAft>
      <a:buChar char="·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47638" algn="l" rtl="0" eaLnBrk="0" fontAlgn="base" hangingPunct="0">
      <a:spcBef>
        <a:spcPct val="50000"/>
      </a:spcBef>
      <a:spcAft>
        <a:spcPct val="0"/>
      </a:spcAft>
      <a:buChar char="»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876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1F6685-18E4-42C6-9DE6-03B17B9A1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41A5A4-C9A9-40A1-A0B2-2F0ACC7DE2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  <a:prstGeom prst="rect">
            <a:avLst/>
          </a:prstGeom>
        </p:spPr>
        <p:txBody>
          <a:bodyPr/>
          <a:lstStyle/>
          <a:p>
            <a:fld id="{66AFC10B-F707-4E2E-A165-AA17571AEF0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A202B8-2B66-8F42-B99A-FF95187B34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7275" y="6593488"/>
            <a:ext cx="3142800" cy="13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>
                <a:solidFill>
                  <a:srgbClr val="7DD8C7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spc="100" dirty="0">
              <a:solidFill>
                <a:srgbClr val="7DD8C7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598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3.vml"/><Relationship Id="rId1" Type="http://schemas.openxmlformats.org/officeDocument/2006/relationships/theme" Target="../theme/them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025135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093" name="Rectangle 6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7D2D77-B9BE-4E52-AA15-03429B98053D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2"/>
              </a:solidFill>
              <a:latin typeface="IBM Plex Sans SemiBold" panose="020B0703050203000203" pitchFamily="34" charset="0"/>
              <a:ea typeface="+mn-ea"/>
              <a:cs typeface="Poppins Black" panose="00000A00000000000000" pitchFamily="2" charset="0"/>
              <a:sym typeface="IBM Plex Sans SemiBold" panose="020B0703050203000203" pitchFamily="34" charset="0"/>
            </a:endParaRPr>
          </a:p>
        </p:txBody>
      </p:sp>
      <p:sp>
        <p:nvSpPr>
          <p:cNvPr id="3" name="[WorkArea]" descr="&lt;?xml version=&quot;1.0&quot; encoding=&quot;utf-16&quot;?&gt;&#10;&lt;GridTheme xmlns:xsd=&quot;http://www.w3.org/2001/XMLSchema&quot; xmlns:xsi=&quot;http://www.w3.org/2001/XMLSchema-instance&quot;&gt;&#10;  &lt;GuideLines /&gt;&#10;  &lt;WorkArea&gt;&#10;    &lt;Top&gt;94.12504&lt;/Top&gt;&#10;    &lt;Left&gt;32.87504&lt;/Left&gt;&#10;    &lt;Width&gt;714.374939&lt;/Width&gt;&#10;    &lt;Height&gt;388.374969&lt;/Height&gt;&#10;  &lt;/WorkArea&gt;&#10;  &lt;AspectW&gt;-1&lt;/AspectW&gt;&#10;  &lt;AspectH&gt;-1&lt;/AspectH&gt;&#10;  &lt;Width&gt;780&lt;/Width&gt;&#10;  &lt;Height&gt;540&lt;/Height&gt;&#10;  &lt;HGap&gt;5&lt;/HGap&gt;&#10;  &lt;VGap&gt;5&lt;/VGap&gt;&#10;  &lt;OfficeVersion&gt;-1&lt;/OfficeVersion&gt;&#10;&lt;/GridTheme&gt;" hidden="1"/>
          <p:cNvSpPr/>
          <p:nvPr userDrawn="1"/>
        </p:nvSpPr>
        <p:spPr bwMode="auto">
          <a:xfrm>
            <a:off x="417513" y="1195388"/>
            <a:ext cx="9072562" cy="4932362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2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A39A20-80A6-4069-9C97-426C4B5153C9}"/>
              </a:ext>
            </a:extLst>
          </p:cNvPr>
          <p:cNvSpPr txBox="1"/>
          <p:nvPr userDrawn="1"/>
        </p:nvSpPr>
        <p:spPr>
          <a:xfrm>
            <a:off x="417513" y="134956"/>
            <a:ext cx="2039937" cy="374571"/>
          </a:xfrm>
          <a:prstGeom prst="roundRect">
            <a:avLst/>
          </a:prstGeom>
          <a:noFill/>
          <a:ln w="12700">
            <a:solidFill>
              <a:srgbClr val="612C83"/>
            </a:solidFill>
          </a:ln>
        </p:spPr>
        <p:txBody>
          <a:bodyPr wrap="square" lIns="182880" rtlCol="0">
            <a:spAutoFit/>
          </a:bodyPr>
          <a:lstStyle/>
          <a:p>
            <a:pPr algn="l"/>
            <a:r>
              <a:rPr lang="en-US" sz="1600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09C4C58-F676-44F7-8162-7FCCA3EF79FD}"/>
              </a:ext>
            </a:extLst>
          </p:cNvPr>
          <p:cNvSpPr/>
          <p:nvPr userDrawn="1"/>
        </p:nvSpPr>
        <p:spPr bwMode="auto">
          <a:xfrm>
            <a:off x="417513" y="1214399"/>
            <a:ext cx="547016" cy="204311"/>
          </a:xfrm>
          <a:prstGeom prst="roundRect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BE8D96-1F9F-4862-84B8-4326461C4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8543925" cy="539750"/>
          </a:xfrm>
          <a:prstGeom prst="rect">
            <a:avLst/>
          </a:prstGeom>
        </p:spPr>
        <p:txBody>
          <a:bodyPr vert="horz" lIns="182880" tIns="45720" rIns="182880" bIns="45720" rtlCol="0" anchor="t" anchorCtr="0">
            <a:normAutofit/>
          </a:bodyPr>
          <a:lstStyle/>
          <a:p>
            <a:r>
              <a:rPr lang="en-US" dirty="0"/>
              <a:t>Title goes here in IBM </a:t>
            </a:r>
            <a:r>
              <a:rPr lang="en-US" dirty="0" err="1"/>
              <a:t>SemiBold</a:t>
            </a:r>
            <a:r>
              <a:rPr lang="en-US" dirty="0"/>
              <a:t> size24</a:t>
            </a:r>
            <a:endParaRPr lang="de-DE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93DA38CC-FDC4-974F-A8CC-D1E7E5646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2399" y="6356350"/>
            <a:ext cx="378000" cy="19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7DD8C7"/>
                </a:solidFill>
              </a:defRPr>
            </a:lvl1pPr>
          </a:lstStyle>
          <a:p>
            <a:fld id="{66AFC10B-F707-4E2E-A165-AA17571AEF0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</p:sldLayoutIdLst>
  <p:transition>
    <p:fade/>
  </p:transition>
  <p:hf hdr="0" ftr="0" dt="0"/>
  <p:txStyles>
    <p:titleStyle>
      <a:lvl1pPr algn="l" rtl="0" eaLnBrk="1" fontAlgn="base" hangingPunct="1">
        <a:spcBef>
          <a:spcPct val="50000"/>
        </a:spcBef>
        <a:spcAft>
          <a:spcPct val="0"/>
        </a:spcAft>
        <a:defRPr lang="de-DE" sz="2400" b="0" kern="1200" dirty="0">
          <a:solidFill>
            <a:srgbClr val="509AAF"/>
          </a:solidFill>
          <a:latin typeface="IBM Plex Sans SemiBold" panose="020B0703050203000203" pitchFamily="34" charset="0"/>
          <a:ea typeface="+mn-ea"/>
          <a:cs typeface="Poppins Black" panose="00000A00000000000000" pitchFamily="2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rgbClr val="000000"/>
          </a:solidFill>
          <a:latin typeface="Raleway" panose="020B0503030101060003" pitchFamily="34" charset="0"/>
          <a:ea typeface="+mn-ea"/>
          <a:cs typeface="+mn-cs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Char char="•"/>
        <a:defRPr sz="1200">
          <a:solidFill>
            <a:srgbClr val="000000"/>
          </a:solidFill>
          <a:latin typeface="Raleway" panose="020B0503030101060003" pitchFamily="34" charset="0"/>
        </a:defRPr>
      </a:lvl2pPr>
      <a:lvl3pPr marL="285750" indent="-147638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rgbClr val="000000"/>
          </a:solidFill>
          <a:latin typeface="Raleway" panose="020B0503030101060003" pitchFamily="34" charset="0"/>
        </a:defRPr>
      </a:lvl3pPr>
      <a:lvl4pPr marL="422275" indent="-134938" algn="l" rtl="0" eaLnBrk="1" fontAlgn="base" hangingPunct="1">
        <a:spcBef>
          <a:spcPct val="50000"/>
        </a:spcBef>
        <a:spcAft>
          <a:spcPct val="0"/>
        </a:spcAft>
        <a:buChar char="·"/>
        <a:defRPr sz="1200">
          <a:solidFill>
            <a:srgbClr val="000000"/>
          </a:solidFill>
          <a:latin typeface="Raleway" panose="020B0503030101060003" pitchFamily="34" charset="0"/>
        </a:defRPr>
      </a:lvl4pPr>
      <a:lvl5pPr marL="5715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rgbClr val="000000"/>
          </a:solidFill>
          <a:latin typeface="Raleway" panose="020B0503030101060003" pitchFamily="34" charset="0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3" userDrawn="1">
          <p15:clr>
            <a:srgbClr val="F26B43"/>
          </p15:clr>
        </p15:guide>
        <p15:guide id="2" pos="5978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4197" userDrawn="1">
          <p15:clr>
            <a:srgbClr val="F26B43"/>
          </p15:clr>
        </p15:guide>
        <p15:guide id="5" pos="3120" userDrawn="1">
          <p15:clr>
            <a:srgbClr val="F26B43"/>
          </p15:clr>
        </p15:guide>
        <p15:guide id="6" orient="horz" pos="3959" userDrawn="1">
          <p15:clr>
            <a:srgbClr val="F26B43"/>
          </p15:clr>
        </p15:guide>
        <p15:guide id="7" orient="horz" pos="958" userDrawn="1">
          <p15:clr>
            <a:srgbClr val="F26B43"/>
          </p15:clr>
        </p15:guide>
        <p15:guide id="8" pos="2961" userDrawn="1">
          <p15:clr>
            <a:srgbClr val="F26B43"/>
          </p15:clr>
        </p15:guide>
        <p15:guide id="9" pos="327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B764DAC-CE31-43F2-9B12-7AE23BD9DA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B764DAC-CE31-43F2-9B12-7AE23BD9DA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8F2FAAD-2584-42CA-9166-785AB7C4CF0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7197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81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8336AD1-FF99-4336-A517-13267C390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9FD0D4-8A1F-4000-A981-D5A405A2C9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9B01B2-10F2-4264-A8D4-F35F8BD692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5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384E7-65FA-470B-A6E3-F0CD1397E39E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E911D-C400-47B0-849B-2BA246DA17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5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8E6BB-A939-4498-A8D7-8F02E6EA86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5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A5279F-A0BC-4220-AE5C-C1F358E1EC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19448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597" name="Object 1091596" hidden="1">
            <a:extLst>
              <a:ext uri="{FF2B5EF4-FFF2-40B4-BE49-F238E27FC236}">
                <a16:creationId xmlns:a16="http://schemas.microsoft.com/office/drawing/2014/main" id="{D647CDB1-A949-4963-953A-1FFF0E589D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766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91597" name="Object 1091596" hidden="1">
                        <a:extLst>
                          <a:ext uri="{FF2B5EF4-FFF2-40B4-BE49-F238E27FC236}">
                            <a16:creationId xmlns:a16="http://schemas.microsoft.com/office/drawing/2014/main" id="{D647CDB1-A949-4963-953A-1FFF0E589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052701DA-2610-4D31-B1B1-7EDC46BADFC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E8711FB-17BD-472A-BD98-2FE8F3173AC3}"/>
              </a:ext>
            </a:extLst>
          </p:cNvPr>
          <p:cNvSpPr/>
          <p:nvPr/>
        </p:nvSpPr>
        <p:spPr bwMode="auto">
          <a:xfrm>
            <a:off x="1" y="-1"/>
            <a:ext cx="9906000" cy="6858001"/>
          </a:xfrm>
          <a:prstGeom prst="rect">
            <a:avLst/>
          </a:prstGeom>
          <a:gradFill>
            <a:gsLst>
              <a:gs pos="0">
                <a:srgbClr val="509AAF">
                  <a:alpha val="80000"/>
                </a:srgbClr>
              </a:gs>
              <a:gs pos="100000">
                <a:srgbClr val="612C83">
                  <a:alpha val="80000"/>
                </a:srgbClr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34AE26D-CC9F-47BF-A9A1-710F96A7BC28}"/>
              </a:ext>
            </a:extLst>
          </p:cNvPr>
          <p:cNvSpPr txBox="1"/>
          <p:nvPr/>
        </p:nvSpPr>
        <p:spPr>
          <a:xfrm>
            <a:off x="7471681" y="227576"/>
            <a:ext cx="2016595" cy="374571"/>
          </a:xfrm>
          <a:prstGeom prst="roundRect">
            <a:avLst/>
          </a:prstGeom>
          <a:noFill/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FA1400F0-82CB-4D93-A084-3633CD2C8AA3}"/>
              </a:ext>
            </a:extLst>
          </p:cNvPr>
          <p:cNvSpPr/>
          <p:nvPr/>
        </p:nvSpPr>
        <p:spPr bwMode="auto">
          <a:xfrm>
            <a:off x="417513" y="4039790"/>
            <a:ext cx="547016" cy="204311"/>
          </a:xfrm>
          <a:prstGeom prst="round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F67BA80-6C68-4A95-932A-D083B9463CFF}"/>
              </a:ext>
            </a:extLst>
          </p:cNvPr>
          <p:cNvSpPr txBox="1"/>
          <p:nvPr/>
        </p:nvSpPr>
        <p:spPr>
          <a:xfrm>
            <a:off x="417513" y="4350721"/>
            <a:ext cx="7672387" cy="120032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Client guidelines example</a:t>
            </a:r>
            <a:b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</a:br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Name of client: </a:t>
            </a:r>
            <a:r>
              <a:rPr lang="en-US" sz="3600" dirty="0">
                <a:solidFill>
                  <a:srgbClr val="F5FFC3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Executive Advisors</a:t>
            </a:r>
          </a:p>
        </p:txBody>
      </p:sp>
    </p:spTree>
    <p:extLst>
      <p:ext uri="{BB962C8B-B14F-4D97-AF65-F5344CB8AC3E}">
        <p14:creationId xmlns:p14="http://schemas.microsoft.com/office/powerpoint/2010/main" val="417187710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E86EF-3F3A-8D49-8900-7E36D9552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8 week Sprint – Project design guide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C2D31-9264-B441-8131-B0E886F40F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31A60A-7068-7D43-A743-240A645E26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100" dirty="0">
                <a:latin typeface="Poppins Medium" panose="00000600000000000000" pitchFamily="2" charset="0"/>
                <a:cs typeface="Poppins Medium" panose="00000600000000000000" pitchFamily="2" charset="0"/>
              </a:rPr>
              <a:t>Subtitle goes here in Poppins Medium size 9 </a:t>
            </a:r>
          </a:p>
        </p:txBody>
      </p:sp>
      <p:sp>
        <p:nvSpPr>
          <p:cNvPr id="13" name="Rectangle: Rounded Corners 10">
            <a:extLst>
              <a:ext uri="{FF2B5EF4-FFF2-40B4-BE49-F238E27FC236}">
                <a16:creationId xmlns:a16="http://schemas.microsoft.com/office/drawing/2014/main" id="{605E3154-AF6A-4CF1-9D3D-EA70B44F9988}"/>
              </a:ext>
            </a:extLst>
          </p:cNvPr>
          <p:cNvSpPr/>
          <p:nvPr/>
        </p:nvSpPr>
        <p:spPr bwMode="auto">
          <a:xfrm>
            <a:off x="4191000" y="3174281"/>
            <a:ext cx="1524001" cy="1368583"/>
          </a:xfrm>
          <a:prstGeom prst="roundRect">
            <a:avLst>
              <a:gd name="adj" fmla="val 10929"/>
            </a:avLst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IN" dirty="0">
              <a:solidFill>
                <a:srgbClr val="FFFF00"/>
              </a:solidFill>
              <a:latin typeface="IBM Plex Sans Medium" panose="020B0604020202020204" charset="0"/>
              <a:cs typeface="IBM Plex Sans Medium" panose="020B0604020202020204" charset="0"/>
            </a:endParaRP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099C4ABE-2EFC-472C-B350-D73746BA8B3F}"/>
              </a:ext>
            </a:extLst>
          </p:cNvPr>
          <p:cNvCxnSpPr>
            <a:cxnSpLocks/>
            <a:stCxn id="13" idx="1"/>
          </p:cNvCxnSpPr>
          <p:nvPr/>
        </p:nvCxnSpPr>
        <p:spPr bwMode="auto">
          <a:xfrm flipH="1">
            <a:off x="4065262" y="3858573"/>
            <a:ext cx="12573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7DD8C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4E83DDF8-DB10-46E3-BF8B-F401E3FDBE55}"/>
              </a:ext>
            </a:extLst>
          </p:cNvPr>
          <p:cNvCxnSpPr>
            <a:cxnSpLocks/>
            <a:stCxn id="13" idx="3"/>
          </p:cNvCxnSpPr>
          <p:nvPr/>
        </p:nvCxnSpPr>
        <p:spPr bwMode="auto">
          <a:xfrm>
            <a:off x="5715001" y="3858573"/>
            <a:ext cx="10918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7DD8C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AE41728B-93B2-46A1-A9FB-2E2A386E7ECA}"/>
              </a:ext>
            </a:extLst>
          </p:cNvPr>
          <p:cNvSpPr txBox="1"/>
          <p:nvPr/>
        </p:nvSpPr>
        <p:spPr>
          <a:xfrm>
            <a:off x="4217841" y="3223985"/>
            <a:ext cx="1422782" cy="1185921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Number of participants – 24      </a:t>
            </a:r>
          </a:p>
          <a:p>
            <a:pPr algn="l"/>
            <a:r>
              <a:rPr lang="en-IN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Start date – 19</a:t>
            </a:r>
            <a:r>
              <a:rPr lang="en-IN" b="1" baseline="30000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th</a:t>
            </a:r>
            <a:r>
              <a:rPr lang="en-IN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 May</a:t>
            </a:r>
          </a:p>
          <a:p>
            <a:pPr algn="l"/>
            <a:r>
              <a:rPr lang="en-IN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Headed by CEO</a:t>
            </a:r>
          </a:p>
        </p:txBody>
      </p:sp>
      <p:sp>
        <p:nvSpPr>
          <p:cNvPr id="65" name="Rectangle: Rounded Corners 10">
            <a:extLst>
              <a:ext uri="{FF2B5EF4-FFF2-40B4-BE49-F238E27FC236}">
                <a16:creationId xmlns:a16="http://schemas.microsoft.com/office/drawing/2014/main" id="{78AA1688-35DF-4E63-BD74-6AD0AEAD1E74}"/>
              </a:ext>
            </a:extLst>
          </p:cNvPr>
          <p:cNvSpPr/>
          <p:nvPr/>
        </p:nvSpPr>
        <p:spPr bwMode="auto">
          <a:xfrm>
            <a:off x="422516" y="1527639"/>
            <a:ext cx="2286000" cy="961322"/>
          </a:xfrm>
          <a:prstGeom prst="roundRect">
            <a:avLst>
              <a:gd name="adj" fmla="val 10929"/>
            </a:avLst>
          </a:prstGeom>
          <a:solidFill>
            <a:srgbClr val="F2F2F2"/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66" name="Rectangle: Rounded Corners 10">
            <a:extLst>
              <a:ext uri="{FF2B5EF4-FFF2-40B4-BE49-F238E27FC236}">
                <a16:creationId xmlns:a16="http://schemas.microsoft.com/office/drawing/2014/main" id="{6E1D8AD1-4638-4457-A981-8896730FD406}"/>
              </a:ext>
            </a:extLst>
          </p:cNvPr>
          <p:cNvSpPr/>
          <p:nvPr/>
        </p:nvSpPr>
        <p:spPr bwMode="auto">
          <a:xfrm>
            <a:off x="423545" y="2792343"/>
            <a:ext cx="2286000" cy="961322"/>
          </a:xfrm>
          <a:prstGeom prst="roundRect">
            <a:avLst>
              <a:gd name="adj" fmla="val 10929"/>
            </a:avLst>
          </a:prstGeom>
          <a:solidFill>
            <a:srgbClr val="F2F2F2"/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67" name="Rectangle: Rounded Corners 10">
            <a:extLst>
              <a:ext uri="{FF2B5EF4-FFF2-40B4-BE49-F238E27FC236}">
                <a16:creationId xmlns:a16="http://schemas.microsoft.com/office/drawing/2014/main" id="{95CE6FF2-9270-4002-AA51-1F0E5D5DCE55}"/>
              </a:ext>
            </a:extLst>
          </p:cNvPr>
          <p:cNvSpPr/>
          <p:nvPr/>
        </p:nvSpPr>
        <p:spPr bwMode="auto">
          <a:xfrm>
            <a:off x="422516" y="4057966"/>
            <a:ext cx="2286000" cy="961322"/>
          </a:xfrm>
          <a:prstGeom prst="roundRect">
            <a:avLst>
              <a:gd name="adj" fmla="val 10929"/>
            </a:avLst>
          </a:prstGeom>
          <a:solidFill>
            <a:srgbClr val="F2F2F2"/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509AAF"/>
              </a:solidFill>
              <a:latin typeface="IBM Plex Sans Light" panose="020B0604020202020204" charset="0"/>
            </a:endParaRPr>
          </a:p>
        </p:txBody>
      </p:sp>
      <p:sp>
        <p:nvSpPr>
          <p:cNvPr id="72" name="Rectangle: Rounded Corners 10">
            <a:extLst>
              <a:ext uri="{FF2B5EF4-FFF2-40B4-BE49-F238E27FC236}">
                <a16:creationId xmlns:a16="http://schemas.microsoft.com/office/drawing/2014/main" id="{BF6C347D-90F8-4775-90DE-92316BDF2806}"/>
              </a:ext>
            </a:extLst>
          </p:cNvPr>
          <p:cNvSpPr/>
          <p:nvPr/>
        </p:nvSpPr>
        <p:spPr bwMode="auto">
          <a:xfrm>
            <a:off x="424159" y="5320389"/>
            <a:ext cx="2286000" cy="961322"/>
          </a:xfrm>
          <a:prstGeom prst="roundRect">
            <a:avLst>
              <a:gd name="adj" fmla="val 10929"/>
            </a:avLst>
          </a:prstGeom>
          <a:solidFill>
            <a:srgbClr val="F2F2F2"/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EEC7D46-63D4-4F1A-97AE-EECBDAA24469}"/>
              </a:ext>
            </a:extLst>
          </p:cNvPr>
          <p:cNvCxnSpPr>
            <a:cxnSpLocks/>
            <a:stCxn id="52" idx="3"/>
            <a:endCxn id="53" idx="3"/>
          </p:cNvCxnSpPr>
          <p:nvPr/>
        </p:nvCxnSpPr>
        <p:spPr bwMode="auto">
          <a:xfrm>
            <a:off x="4065262" y="2012236"/>
            <a:ext cx="11589" cy="37920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DD8C7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D76B2B5-3A9B-41FB-A85C-666040909433}"/>
              </a:ext>
            </a:extLst>
          </p:cNvPr>
          <p:cNvCxnSpPr>
            <a:cxnSpLocks/>
            <a:stCxn id="52" idx="1"/>
            <a:endCxn id="65" idx="3"/>
          </p:cNvCxnSpPr>
          <p:nvPr/>
        </p:nvCxnSpPr>
        <p:spPr bwMode="auto">
          <a:xfrm flipH="1" flipV="1">
            <a:off x="2708516" y="2008300"/>
            <a:ext cx="567759" cy="393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509AAF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FB2B186-2B5E-4DFD-A132-FD81E905294E}"/>
              </a:ext>
            </a:extLst>
          </p:cNvPr>
          <p:cNvCxnSpPr>
            <a:cxnSpLocks/>
          </p:cNvCxnSpPr>
          <p:nvPr/>
        </p:nvCxnSpPr>
        <p:spPr bwMode="auto">
          <a:xfrm flipH="1">
            <a:off x="2705320" y="3273005"/>
            <a:ext cx="57594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509AAF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C8F42A2-999F-4775-9640-58F969E2B242}"/>
              </a:ext>
            </a:extLst>
          </p:cNvPr>
          <p:cNvCxnSpPr>
            <a:cxnSpLocks/>
            <a:stCxn id="54" idx="1"/>
            <a:endCxn id="67" idx="3"/>
          </p:cNvCxnSpPr>
          <p:nvPr/>
        </p:nvCxnSpPr>
        <p:spPr bwMode="auto">
          <a:xfrm flipH="1">
            <a:off x="2708516" y="4536989"/>
            <a:ext cx="572757" cy="163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1AB4A24-E41C-4A55-A792-517A5A3FA486}"/>
              </a:ext>
            </a:extLst>
          </p:cNvPr>
          <p:cNvCxnSpPr>
            <a:cxnSpLocks/>
            <a:stCxn id="53" idx="1"/>
            <a:endCxn id="72" idx="3"/>
          </p:cNvCxnSpPr>
          <p:nvPr/>
        </p:nvCxnSpPr>
        <p:spPr bwMode="auto">
          <a:xfrm flipH="1" flipV="1">
            <a:off x="2710159" y="5801050"/>
            <a:ext cx="577705" cy="319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2" name="Rectangle: Rounded Corners 4">
            <a:extLst>
              <a:ext uri="{FF2B5EF4-FFF2-40B4-BE49-F238E27FC236}">
                <a16:creationId xmlns:a16="http://schemas.microsoft.com/office/drawing/2014/main" id="{2703DCC4-5679-48C8-A1B9-C1B75A153067}"/>
              </a:ext>
            </a:extLst>
          </p:cNvPr>
          <p:cNvSpPr/>
          <p:nvPr/>
        </p:nvSpPr>
        <p:spPr bwMode="auto">
          <a:xfrm>
            <a:off x="3276275" y="1852016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200" dirty="0">
                <a:latin typeface="IBM Plex Sans Medium" panose="020B0603050203000203" pitchFamily="34" charset="0"/>
              </a:rPr>
              <a:t>1</a:t>
            </a:r>
          </a:p>
        </p:txBody>
      </p:sp>
      <p:sp>
        <p:nvSpPr>
          <p:cNvPr id="53" name="Rectangle: Rounded Corners 4">
            <a:extLst>
              <a:ext uri="{FF2B5EF4-FFF2-40B4-BE49-F238E27FC236}">
                <a16:creationId xmlns:a16="http://schemas.microsoft.com/office/drawing/2014/main" id="{D7CB0B5A-EFFB-402D-950C-0AA430EAB902}"/>
              </a:ext>
            </a:extLst>
          </p:cNvPr>
          <p:cNvSpPr/>
          <p:nvPr/>
        </p:nvSpPr>
        <p:spPr bwMode="auto">
          <a:xfrm>
            <a:off x="3287864" y="5644026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4" name="Rectangle: Rounded Corners 4">
            <a:extLst>
              <a:ext uri="{FF2B5EF4-FFF2-40B4-BE49-F238E27FC236}">
                <a16:creationId xmlns:a16="http://schemas.microsoft.com/office/drawing/2014/main" id="{AA1C5022-563C-4854-9F9F-0C8B2A5A5054}"/>
              </a:ext>
            </a:extLst>
          </p:cNvPr>
          <p:cNvSpPr/>
          <p:nvPr/>
        </p:nvSpPr>
        <p:spPr bwMode="auto">
          <a:xfrm>
            <a:off x="3281273" y="4376769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5" name="Rectangle: Rounded Corners 4">
            <a:extLst>
              <a:ext uri="{FF2B5EF4-FFF2-40B4-BE49-F238E27FC236}">
                <a16:creationId xmlns:a16="http://schemas.microsoft.com/office/drawing/2014/main" id="{D40C68A4-8BD0-4495-ACE5-09E9E22B3786}"/>
              </a:ext>
            </a:extLst>
          </p:cNvPr>
          <p:cNvSpPr/>
          <p:nvPr/>
        </p:nvSpPr>
        <p:spPr bwMode="auto">
          <a:xfrm>
            <a:off x="3277868" y="3112784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 </a:t>
            </a:r>
            <a:endParaRPr lang="de-DE" dirty="0">
              <a:solidFill>
                <a:schemeClr val="tx2"/>
              </a:solidFill>
            </a:endParaRP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4795857-8DE3-4B64-AF7E-9AC93CDC2398}"/>
              </a:ext>
            </a:extLst>
          </p:cNvPr>
          <p:cNvGrpSpPr/>
          <p:nvPr/>
        </p:nvGrpSpPr>
        <p:grpSpPr>
          <a:xfrm>
            <a:off x="3175231" y="5719367"/>
            <a:ext cx="192024" cy="192024"/>
            <a:chOff x="499610" y="3085106"/>
            <a:chExt cx="457200" cy="457200"/>
          </a:xfrm>
        </p:grpSpPr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AFE63708-DB06-450A-A576-DE705F3AED0F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A12E9F76-4613-47DC-A161-4EEF5C8524D4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CF79EBE1-3F60-4C0A-8F51-5A585C894AD9}"/>
              </a:ext>
            </a:extLst>
          </p:cNvPr>
          <p:cNvGrpSpPr/>
          <p:nvPr/>
        </p:nvGrpSpPr>
        <p:grpSpPr>
          <a:xfrm>
            <a:off x="3175231" y="4455381"/>
            <a:ext cx="192024" cy="192024"/>
            <a:chOff x="499610" y="3085106"/>
            <a:chExt cx="457200" cy="457200"/>
          </a:xfrm>
        </p:grpSpPr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F19AFAA6-6400-4390-A6B8-6C88820D9FC8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514EF987-241D-4978-8C48-734EED08F4E7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906EBA3B-E6D5-49E5-88BB-F135CCEE4977}"/>
              </a:ext>
            </a:extLst>
          </p:cNvPr>
          <p:cNvGrpSpPr/>
          <p:nvPr/>
        </p:nvGrpSpPr>
        <p:grpSpPr>
          <a:xfrm>
            <a:off x="3201596" y="3191396"/>
            <a:ext cx="192024" cy="192024"/>
            <a:chOff x="499610" y="3085106"/>
            <a:chExt cx="457200" cy="457200"/>
          </a:xfrm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4EA74E1D-9847-4C0F-B838-001EAA7BF06F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7176CE80-0769-4CD6-860F-CE554DADF19A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8CCFAF9C-6315-4FCA-B9FB-B4244CFA1FED}"/>
              </a:ext>
            </a:extLst>
          </p:cNvPr>
          <p:cNvGrpSpPr/>
          <p:nvPr/>
        </p:nvGrpSpPr>
        <p:grpSpPr>
          <a:xfrm>
            <a:off x="3175231" y="1927412"/>
            <a:ext cx="192024" cy="192024"/>
            <a:chOff x="499610" y="3085106"/>
            <a:chExt cx="457200" cy="45720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1A2B32A0-6171-4018-A1E6-88914B394EE9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EC10A747-045B-41F9-A96E-3DA023996910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sp>
        <p:nvSpPr>
          <p:cNvPr id="68" name="Rectangle: Rounded Corners 10">
            <a:extLst>
              <a:ext uri="{FF2B5EF4-FFF2-40B4-BE49-F238E27FC236}">
                <a16:creationId xmlns:a16="http://schemas.microsoft.com/office/drawing/2014/main" id="{C9D3FFF2-9781-4CF4-98A8-85D1031D3045}"/>
              </a:ext>
            </a:extLst>
          </p:cNvPr>
          <p:cNvSpPr/>
          <p:nvPr/>
        </p:nvSpPr>
        <p:spPr bwMode="auto">
          <a:xfrm>
            <a:off x="7198253" y="5321095"/>
            <a:ext cx="2286000" cy="960120"/>
          </a:xfrm>
          <a:prstGeom prst="roundRect">
            <a:avLst>
              <a:gd name="adj" fmla="val 10929"/>
            </a:avLst>
          </a:prstGeom>
          <a:solidFill>
            <a:srgbClr val="F2F2F2"/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69" name="Rectangle: Rounded Corners 10">
            <a:extLst>
              <a:ext uri="{FF2B5EF4-FFF2-40B4-BE49-F238E27FC236}">
                <a16:creationId xmlns:a16="http://schemas.microsoft.com/office/drawing/2014/main" id="{8FC623A1-489A-421A-8FE3-0B7CC3D8A759}"/>
              </a:ext>
            </a:extLst>
          </p:cNvPr>
          <p:cNvSpPr/>
          <p:nvPr/>
        </p:nvSpPr>
        <p:spPr bwMode="auto">
          <a:xfrm>
            <a:off x="7198499" y="4070421"/>
            <a:ext cx="2286000" cy="960120"/>
          </a:xfrm>
          <a:prstGeom prst="roundRect">
            <a:avLst>
              <a:gd name="adj" fmla="val 10929"/>
            </a:avLst>
          </a:prstGeom>
          <a:solidFill>
            <a:srgbClr val="F2F2F2"/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70" name="Rectangle: Rounded Corners 10">
            <a:extLst>
              <a:ext uri="{FF2B5EF4-FFF2-40B4-BE49-F238E27FC236}">
                <a16:creationId xmlns:a16="http://schemas.microsoft.com/office/drawing/2014/main" id="{98A32631-1235-4401-A7CC-D2B9BCEDF65D}"/>
              </a:ext>
            </a:extLst>
          </p:cNvPr>
          <p:cNvSpPr/>
          <p:nvPr/>
        </p:nvSpPr>
        <p:spPr bwMode="auto">
          <a:xfrm>
            <a:off x="7198349" y="2799677"/>
            <a:ext cx="2286000" cy="960120"/>
          </a:xfrm>
          <a:prstGeom prst="roundRect">
            <a:avLst>
              <a:gd name="adj" fmla="val 10929"/>
            </a:avLst>
          </a:prstGeom>
          <a:solidFill>
            <a:srgbClr val="F2F2F2"/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71" name="Rectangle: Rounded Corners 10">
            <a:extLst>
              <a:ext uri="{FF2B5EF4-FFF2-40B4-BE49-F238E27FC236}">
                <a16:creationId xmlns:a16="http://schemas.microsoft.com/office/drawing/2014/main" id="{6E2E6900-11F9-498B-ACD3-C861B0B31A3C}"/>
              </a:ext>
            </a:extLst>
          </p:cNvPr>
          <p:cNvSpPr/>
          <p:nvPr/>
        </p:nvSpPr>
        <p:spPr bwMode="auto">
          <a:xfrm>
            <a:off x="7200111" y="1526943"/>
            <a:ext cx="2286000" cy="960120"/>
          </a:xfrm>
          <a:prstGeom prst="roundRect">
            <a:avLst>
              <a:gd name="adj" fmla="val 10929"/>
            </a:avLst>
          </a:prstGeom>
          <a:solidFill>
            <a:srgbClr val="F2F2F2"/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7F6A035-FED6-4CE0-9FB4-1B5776D3FA1A}"/>
              </a:ext>
            </a:extLst>
          </p:cNvPr>
          <p:cNvCxnSpPr>
            <a:cxnSpLocks/>
            <a:stCxn id="62" idx="1"/>
            <a:endCxn id="59" idx="1"/>
          </p:cNvCxnSpPr>
          <p:nvPr/>
        </p:nvCxnSpPr>
        <p:spPr bwMode="auto">
          <a:xfrm>
            <a:off x="5824185" y="2003172"/>
            <a:ext cx="15122" cy="380986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DD8C7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200ED385-2909-4F11-8EAC-19241AE4DD43}"/>
              </a:ext>
            </a:extLst>
          </p:cNvPr>
          <p:cNvCxnSpPr>
            <a:cxnSpLocks/>
            <a:stCxn id="62" idx="3"/>
            <a:endCxn id="71" idx="1"/>
          </p:cNvCxnSpPr>
          <p:nvPr/>
        </p:nvCxnSpPr>
        <p:spPr bwMode="auto">
          <a:xfrm>
            <a:off x="6613172" y="2003172"/>
            <a:ext cx="586939" cy="383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4A7C40B-7D9E-422B-A9AE-C69FE9E6E19C}"/>
              </a:ext>
            </a:extLst>
          </p:cNvPr>
          <p:cNvCxnSpPr>
            <a:cxnSpLocks/>
            <a:stCxn id="61" idx="3"/>
            <a:endCxn id="70" idx="1"/>
          </p:cNvCxnSpPr>
          <p:nvPr/>
        </p:nvCxnSpPr>
        <p:spPr bwMode="auto">
          <a:xfrm>
            <a:off x="6620733" y="3269513"/>
            <a:ext cx="577616" cy="1022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B95C9168-138A-4322-81DC-8F317FFAD286}"/>
              </a:ext>
            </a:extLst>
          </p:cNvPr>
          <p:cNvCxnSpPr>
            <a:cxnSpLocks/>
            <a:stCxn id="60" idx="3"/>
            <a:endCxn id="69" idx="1"/>
          </p:cNvCxnSpPr>
          <p:nvPr/>
        </p:nvCxnSpPr>
        <p:spPr bwMode="auto">
          <a:xfrm>
            <a:off x="6614942" y="4541277"/>
            <a:ext cx="583557" cy="920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583035EE-7F57-47C8-9DCB-63276537446F}"/>
              </a:ext>
            </a:extLst>
          </p:cNvPr>
          <p:cNvCxnSpPr>
            <a:cxnSpLocks/>
          </p:cNvCxnSpPr>
          <p:nvPr/>
        </p:nvCxnSpPr>
        <p:spPr bwMode="auto">
          <a:xfrm flipV="1">
            <a:off x="6628294" y="5790333"/>
            <a:ext cx="569093" cy="1188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9" name="Rectangle: Rounded Corners 4">
            <a:extLst>
              <a:ext uri="{FF2B5EF4-FFF2-40B4-BE49-F238E27FC236}">
                <a16:creationId xmlns:a16="http://schemas.microsoft.com/office/drawing/2014/main" id="{B6667042-62F6-4FC9-A1FD-65C74DB513BC}"/>
              </a:ext>
            </a:extLst>
          </p:cNvPr>
          <p:cNvSpPr/>
          <p:nvPr/>
        </p:nvSpPr>
        <p:spPr bwMode="auto">
          <a:xfrm>
            <a:off x="5839307" y="5655749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0" name="Rectangle: Rounded Corners 4">
            <a:extLst>
              <a:ext uri="{FF2B5EF4-FFF2-40B4-BE49-F238E27FC236}">
                <a16:creationId xmlns:a16="http://schemas.microsoft.com/office/drawing/2014/main" id="{F2607958-339E-4E37-9FB3-110BF8336CF2}"/>
              </a:ext>
            </a:extLst>
          </p:cNvPr>
          <p:cNvSpPr/>
          <p:nvPr/>
        </p:nvSpPr>
        <p:spPr bwMode="auto">
          <a:xfrm>
            <a:off x="5825955" y="4383985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1" name="Rectangle: Rounded Corners 4">
            <a:extLst>
              <a:ext uri="{FF2B5EF4-FFF2-40B4-BE49-F238E27FC236}">
                <a16:creationId xmlns:a16="http://schemas.microsoft.com/office/drawing/2014/main" id="{EA44D18C-824E-4664-A62B-ABB57A86587C}"/>
              </a:ext>
            </a:extLst>
          </p:cNvPr>
          <p:cNvSpPr/>
          <p:nvPr/>
        </p:nvSpPr>
        <p:spPr bwMode="auto">
          <a:xfrm>
            <a:off x="5831746" y="3112221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2" name="Rectangle: Rounded Corners 4">
            <a:extLst>
              <a:ext uri="{FF2B5EF4-FFF2-40B4-BE49-F238E27FC236}">
                <a16:creationId xmlns:a16="http://schemas.microsoft.com/office/drawing/2014/main" id="{6AFBDEC7-2D7A-42FE-971B-6E4E60E2CE5F}"/>
              </a:ext>
            </a:extLst>
          </p:cNvPr>
          <p:cNvSpPr/>
          <p:nvPr/>
        </p:nvSpPr>
        <p:spPr bwMode="auto">
          <a:xfrm>
            <a:off x="5824185" y="1845880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2356DFC7-7E47-4FE6-9159-F9B203A68981}"/>
              </a:ext>
            </a:extLst>
          </p:cNvPr>
          <p:cNvGrpSpPr/>
          <p:nvPr/>
        </p:nvGrpSpPr>
        <p:grpSpPr>
          <a:xfrm>
            <a:off x="6490636" y="5704920"/>
            <a:ext cx="192024" cy="192024"/>
            <a:chOff x="499610" y="3085106"/>
            <a:chExt cx="457200" cy="457200"/>
          </a:xfrm>
        </p:grpSpPr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9C397930-E22C-439F-A08D-16F318124171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4091D3D8-E167-48AF-8DB0-A425ACB112BB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6100FDF7-AA30-4335-9FB5-2AFB6464E33A}"/>
              </a:ext>
            </a:extLst>
          </p:cNvPr>
          <p:cNvGrpSpPr/>
          <p:nvPr/>
        </p:nvGrpSpPr>
        <p:grpSpPr>
          <a:xfrm>
            <a:off x="6490636" y="4446516"/>
            <a:ext cx="192024" cy="192024"/>
            <a:chOff x="499610" y="3085106"/>
            <a:chExt cx="457200" cy="457200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DBADF336-A056-408C-A5FF-2FAFBE41DA5A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9A96C91-79F0-4713-846A-F63CB62C3C8F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5C54ABD0-3005-4DA1-A51C-5E509FB70E01}"/>
              </a:ext>
            </a:extLst>
          </p:cNvPr>
          <p:cNvGrpSpPr/>
          <p:nvPr/>
        </p:nvGrpSpPr>
        <p:grpSpPr>
          <a:xfrm>
            <a:off x="6487015" y="3167681"/>
            <a:ext cx="192024" cy="192024"/>
            <a:chOff x="499610" y="3085106"/>
            <a:chExt cx="457200" cy="457200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8606E82E-9739-458B-92C5-0C59B9B82420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81D43F23-B8CC-48AD-A426-66CC8861650B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6025907-9526-4215-BA91-99A4664963DD}"/>
              </a:ext>
            </a:extLst>
          </p:cNvPr>
          <p:cNvGrpSpPr/>
          <p:nvPr/>
        </p:nvGrpSpPr>
        <p:grpSpPr>
          <a:xfrm>
            <a:off x="6485207" y="1910051"/>
            <a:ext cx="192024" cy="192024"/>
            <a:chOff x="6485207" y="1910051"/>
            <a:chExt cx="192024" cy="192024"/>
          </a:xfrm>
        </p:grpSpPr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85F43C70-52DE-4732-82FA-89B082359C14}"/>
                </a:ext>
              </a:extLst>
            </p:cNvPr>
            <p:cNvSpPr/>
            <p:nvPr/>
          </p:nvSpPr>
          <p:spPr bwMode="auto">
            <a:xfrm>
              <a:off x="6485207" y="1910051"/>
              <a:ext cx="192024" cy="192024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A203781C-4A74-4DB9-9E6B-4A34F844F99C}"/>
                </a:ext>
              </a:extLst>
            </p:cNvPr>
            <p:cNvSpPr/>
            <p:nvPr/>
          </p:nvSpPr>
          <p:spPr bwMode="auto">
            <a:xfrm>
              <a:off x="6504410" y="1929254"/>
              <a:ext cx="153619" cy="153619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F561AF1-303F-4E74-9796-A37E41427962}"/>
              </a:ext>
            </a:extLst>
          </p:cNvPr>
          <p:cNvSpPr txBox="1"/>
          <p:nvPr/>
        </p:nvSpPr>
        <p:spPr>
          <a:xfrm>
            <a:off x="3333952" y="1832789"/>
            <a:ext cx="788987" cy="387832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1 Week 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4FFB903-D121-4214-A62B-DA7907215008}"/>
              </a:ext>
            </a:extLst>
          </p:cNvPr>
          <p:cNvSpPr txBox="1"/>
          <p:nvPr/>
        </p:nvSpPr>
        <p:spPr>
          <a:xfrm>
            <a:off x="5827339" y="1813050"/>
            <a:ext cx="776689" cy="296415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5 Week 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DDBAD4F-12F6-4874-94B4-92E8B561C7A3}"/>
              </a:ext>
            </a:extLst>
          </p:cNvPr>
          <p:cNvSpPr txBox="1"/>
          <p:nvPr/>
        </p:nvSpPr>
        <p:spPr>
          <a:xfrm>
            <a:off x="3343188" y="3099363"/>
            <a:ext cx="807886" cy="295841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2 Week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C133FAF-17FA-4151-A72D-BF4BE1171C78}"/>
              </a:ext>
            </a:extLst>
          </p:cNvPr>
          <p:cNvSpPr txBox="1"/>
          <p:nvPr/>
        </p:nvSpPr>
        <p:spPr>
          <a:xfrm>
            <a:off x="3333952" y="4359147"/>
            <a:ext cx="713022" cy="424061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3 Week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15946D3-AD39-400A-9447-471FFCA70485}"/>
              </a:ext>
            </a:extLst>
          </p:cNvPr>
          <p:cNvSpPr txBox="1"/>
          <p:nvPr/>
        </p:nvSpPr>
        <p:spPr>
          <a:xfrm>
            <a:off x="3340308" y="5621335"/>
            <a:ext cx="705223" cy="335813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4 Week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56A22B7-8A0A-40DF-A4BE-995BFBF0DBC0}"/>
              </a:ext>
            </a:extLst>
          </p:cNvPr>
          <p:cNvSpPr txBox="1"/>
          <p:nvPr/>
        </p:nvSpPr>
        <p:spPr>
          <a:xfrm>
            <a:off x="5843084" y="3086352"/>
            <a:ext cx="786895" cy="335651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6 Week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27E031F-0C18-4B0F-B696-6BA5BEA18A33}"/>
              </a:ext>
            </a:extLst>
          </p:cNvPr>
          <p:cNvSpPr txBox="1"/>
          <p:nvPr/>
        </p:nvSpPr>
        <p:spPr>
          <a:xfrm>
            <a:off x="5842438" y="4353077"/>
            <a:ext cx="759243" cy="293136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7 Week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FEF293D-BB9A-4F58-80D4-CD5CBCBDF960}"/>
              </a:ext>
            </a:extLst>
          </p:cNvPr>
          <p:cNvSpPr txBox="1"/>
          <p:nvPr/>
        </p:nvSpPr>
        <p:spPr>
          <a:xfrm>
            <a:off x="5824683" y="5622844"/>
            <a:ext cx="758390" cy="371604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8 Week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850DC9F-D140-47C5-A31E-59D9EEEA27D1}"/>
              </a:ext>
            </a:extLst>
          </p:cNvPr>
          <p:cNvSpPr txBox="1"/>
          <p:nvPr/>
        </p:nvSpPr>
        <p:spPr>
          <a:xfrm>
            <a:off x="768333" y="1730901"/>
            <a:ext cx="1684046" cy="738664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rgbClr val="509AAF"/>
                </a:solidFill>
                <a:latin typeface="IBM Plex Sans Light" panose="020B0403050203000203" pitchFamily="34" charset="0"/>
              </a:rPr>
              <a:t>Understand and  gather knowledge</a:t>
            </a:r>
          </a:p>
          <a:p>
            <a:pPr algn="l"/>
            <a:endParaRPr lang="en-IN" dirty="0">
              <a:solidFill>
                <a:srgbClr val="509AAF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35DD0C5-36B8-489F-8861-A583DAF828AC}"/>
              </a:ext>
            </a:extLst>
          </p:cNvPr>
          <p:cNvSpPr txBox="1"/>
          <p:nvPr/>
        </p:nvSpPr>
        <p:spPr>
          <a:xfrm>
            <a:off x="768333" y="2970609"/>
            <a:ext cx="1967301" cy="738664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rgbClr val="509AAF"/>
                </a:solidFill>
                <a:latin typeface="IBM Plex Sans Light" panose="020B0604020202020204" charset="0"/>
              </a:rPr>
              <a:t>Diverge and explore possibilities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74B8088-7B20-4B96-8933-6E2ECC509FE4}"/>
              </a:ext>
            </a:extLst>
          </p:cNvPr>
          <p:cNvSpPr txBox="1"/>
          <p:nvPr/>
        </p:nvSpPr>
        <p:spPr>
          <a:xfrm>
            <a:off x="694545" y="4352220"/>
            <a:ext cx="1901235" cy="830997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rgbClr val="509AAF"/>
                </a:solidFill>
                <a:latin typeface="IBM Plex Sans Light" panose="020B0604020202020204" charset="0"/>
              </a:rPr>
              <a:t>Converge and discuss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604020202020204" charset="0"/>
              </a:rPr>
              <a:t> </a:t>
            </a:r>
          </a:p>
          <a:p>
            <a:pPr algn="l"/>
            <a:endParaRPr lang="en-IN" dirty="0">
              <a:solidFill>
                <a:srgbClr val="509AAF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023DF57-E7C1-4BD6-9D11-B8509F6F6692}"/>
              </a:ext>
            </a:extLst>
          </p:cNvPr>
          <p:cNvSpPr txBox="1"/>
          <p:nvPr/>
        </p:nvSpPr>
        <p:spPr>
          <a:xfrm>
            <a:off x="561605" y="5626860"/>
            <a:ext cx="1943420" cy="276999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dirty="0">
                <a:solidFill>
                  <a:srgbClr val="509AAF"/>
                </a:solidFill>
                <a:latin typeface="IBM Plex Sans Light" panose="020B0403050203000203" pitchFamily="34" charset="0"/>
              </a:rPr>
              <a:t>Build a rough prototyp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E7AE9FB-7E74-46FC-8F98-531C9A23D4BC}"/>
              </a:ext>
            </a:extLst>
          </p:cNvPr>
          <p:cNvSpPr txBox="1"/>
          <p:nvPr/>
        </p:nvSpPr>
        <p:spPr>
          <a:xfrm>
            <a:off x="7330858" y="1629876"/>
            <a:ext cx="1719388" cy="1015663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dirty="0">
                <a:solidFill>
                  <a:srgbClr val="509AAF"/>
                </a:solidFill>
                <a:latin typeface="IBM Plex Sans Light" panose="020B0403050203000203" pitchFamily="34" charset="0"/>
              </a:rPr>
              <a:t>Testing and finding out the success rate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  <a:p>
            <a:pPr algn="l"/>
            <a:endParaRPr lang="en-IN" dirty="0">
              <a:solidFill>
                <a:srgbClr val="509AAF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E08BDA4-A8F1-4687-BBAE-B2ACBB7E9CDC}"/>
              </a:ext>
            </a:extLst>
          </p:cNvPr>
          <p:cNvSpPr txBox="1"/>
          <p:nvPr/>
        </p:nvSpPr>
        <p:spPr>
          <a:xfrm>
            <a:off x="7330858" y="2886046"/>
            <a:ext cx="1660907" cy="738664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rgbClr val="509AAF"/>
                </a:solidFill>
                <a:latin typeface="IBM Plex Sans Light" panose="020B0604020202020204" charset="0"/>
              </a:rPr>
              <a:t>Reiterations wherever necessary</a:t>
            </a:r>
          </a:p>
          <a:p>
            <a:pPr algn="l"/>
            <a:endParaRPr lang="en-IN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C46889F-6F62-4FBC-B687-2B0BC1DF74BE}"/>
              </a:ext>
            </a:extLst>
          </p:cNvPr>
          <p:cNvSpPr txBox="1"/>
          <p:nvPr/>
        </p:nvSpPr>
        <p:spPr>
          <a:xfrm>
            <a:off x="7330858" y="4224548"/>
            <a:ext cx="1745462" cy="461665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dirty="0">
                <a:solidFill>
                  <a:srgbClr val="509AAF"/>
                </a:solidFill>
                <a:latin typeface="IBM Plex Sans Light" panose="020B0403050203000203" pitchFamily="34" charset="0"/>
              </a:rPr>
              <a:t>Review and evaluating the versions</a:t>
            </a:r>
            <a:endParaRPr lang="en-IN" dirty="0">
              <a:solidFill>
                <a:srgbClr val="509AAF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AED9E5F-7A47-4799-8F59-EF75AFBE80BB}"/>
              </a:ext>
            </a:extLst>
          </p:cNvPr>
          <p:cNvSpPr txBox="1"/>
          <p:nvPr/>
        </p:nvSpPr>
        <p:spPr>
          <a:xfrm>
            <a:off x="7333989" y="5482199"/>
            <a:ext cx="1697408" cy="738664"/>
          </a:xfrm>
          <a:prstGeom prst="rect">
            <a:avLst/>
          </a:prstGeom>
          <a:noFill/>
        </p:spPr>
        <p:txBody>
          <a:bodyPr vert="horz" wrap="square" lIns="91440" tIns="91440" r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rgbClr val="509AAF"/>
                </a:solidFill>
                <a:latin typeface="IBM Plex Sans Light" panose="020B0604020202020204" charset="0"/>
              </a:rPr>
              <a:t>Finalize and agreeing on timelines</a:t>
            </a:r>
          </a:p>
          <a:p>
            <a:pPr algn="l"/>
            <a:endParaRPr lang="en-IN" dirty="0">
              <a:solidFill>
                <a:srgbClr val="509A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5718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5F53830-AB9B-4D42-91E0-AFD2ED4C7D90}"/>
              </a:ext>
            </a:extLst>
          </p:cNvPr>
          <p:cNvSpPr/>
          <p:nvPr/>
        </p:nvSpPr>
        <p:spPr bwMode="auto">
          <a:xfrm>
            <a:off x="5060574" y="1197644"/>
            <a:ext cx="4431692" cy="5089527"/>
          </a:xfrm>
          <a:prstGeom prst="rect">
            <a:avLst/>
          </a:prstGeom>
          <a:solidFill>
            <a:srgbClr val="509AAF"/>
          </a:solidFill>
          <a:ln w="25400">
            <a:noFill/>
            <a:round/>
            <a:headEnd/>
            <a:tailEnd/>
          </a:ln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F5FFC3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A86C06-AE03-466D-A3AB-1C5416069BEC}"/>
              </a:ext>
            </a:extLst>
          </p:cNvPr>
          <p:cNvSpPr/>
          <p:nvPr/>
        </p:nvSpPr>
        <p:spPr bwMode="auto">
          <a:xfrm>
            <a:off x="419392" y="1201840"/>
            <a:ext cx="4431692" cy="5086918"/>
          </a:xfrm>
          <a:prstGeom prst="rect">
            <a:avLst/>
          </a:prstGeom>
          <a:solidFill>
            <a:srgbClr val="509AAF"/>
          </a:solidFill>
          <a:ln w="254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F5FFC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09AF574-E2A3-4BC6-BC64-1200BA20D1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190945"/>
              </p:ext>
            </p:extLst>
          </p:nvPr>
        </p:nvGraphicFramePr>
        <p:xfrm>
          <a:off x="-19307" y="700391"/>
          <a:ext cx="5453508" cy="5443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Oval 10">
            <a:extLst>
              <a:ext uri="{FF2B5EF4-FFF2-40B4-BE49-F238E27FC236}">
                <a16:creationId xmlns:a16="http://schemas.microsoft.com/office/drawing/2014/main" id="{AAA1A488-CAB6-4A24-87C7-CF0A1E848C82}"/>
              </a:ext>
            </a:extLst>
          </p:cNvPr>
          <p:cNvSpPr/>
          <p:nvPr/>
        </p:nvSpPr>
        <p:spPr bwMode="auto">
          <a:xfrm>
            <a:off x="5300331" y="1998144"/>
            <a:ext cx="822960" cy="822960"/>
          </a:xfrm>
          <a:prstGeom prst="ellipse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5FFC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43985B-3E54-4B16-B6D6-E0DC48D331BB}"/>
              </a:ext>
            </a:extLst>
          </p:cNvPr>
          <p:cNvSpPr txBox="1"/>
          <p:nvPr/>
        </p:nvSpPr>
        <p:spPr>
          <a:xfrm>
            <a:off x="5851160" y="2085284"/>
            <a:ext cx="3404411" cy="519543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Overall business performan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62A9274-A565-4C7E-A33D-07DE28C6703E}"/>
              </a:ext>
            </a:extLst>
          </p:cNvPr>
          <p:cNvSpPr txBox="1"/>
          <p:nvPr/>
        </p:nvSpPr>
        <p:spPr>
          <a:xfrm>
            <a:off x="6072308" y="3151878"/>
            <a:ext cx="3377820" cy="738664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Daily task management and productivit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509AAF"/>
              </a:solidFill>
              <a:effectLst/>
              <a:uLnTx/>
              <a:uFillTx/>
              <a:latin typeface="IBM Plex Sans Light" panose="020B0403050203000203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B149A3-D3B2-47A3-859D-40E5BA96EEBD}"/>
              </a:ext>
            </a:extLst>
          </p:cNvPr>
          <p:cNvSpPr txBox="1"/>
          <p:nvPr/>
        </p:nvSpPr>
        <p:spPr>
          <a:xfrm>
            <a:off x="6093588" y="4274162"/>
            <a:ext cx="3093396" cy="553998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Company image and repu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509AAF"/>
              </a:solidFill>
              <a:effectLst/>
              <a:uLnTx/>
              <a:uFillTx/>
              <a:latin typeface="IBM Plex Sans Light" panose="020B0403050203000203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70A1A1-47B2-4C96-A30F-697C12318588}"/>
              </a:ext>
            </a:extLst>
          </p:cNvPr>
          <p:cNvSpPr txBox="1"/>
          <p:nvPr/>
        </p:nvSpPr>
        <p:spPr>
          <a:xfrm>
            <a:off x="6241100" y="5370907"/>
            <a:ext cx="2305456" cy="553998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Team dynamic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509AAF"/>
              </a:solidFill>
              <a:effectLst/>
              <a:uLnTx/>
              <a:uFillTx/>
              <a:latin typeface="IBM Plex Sans Light" panose="020B0403050203000203" pitchFamily="34" charset="0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8BCD39F-48B5-4C69-835E-59B2285DD6C8}"/>
              </a:ext>
            </a:extLst>
          </p:cNvPr>
          <p:cNvSpPr/>
          <p:nvPr/>
        </p:nvSpPr>
        <p:spPr bwMode="auto">
          <a:xfrm>
            <a:off x="5300331" y="3077571"/>
            <a:ext cx="822960" cy="822960"/>
          </a:xfrm>
          <a:prstGeom prst="ellipse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5FFC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0DB0C0F-5806-4255-BE4F-84DE347222C2}"/>
              </a:ext>
            </a:extLst>
          </p:cNvPr>
          <p:cNvSpPr/>
          <p:nvPr/>
        </p:nvSpPr>
        <p:spPr bwMode="auto">
          <a:xfrm>
            <a:off x="5300331" y="4168469"/>
            <a:ext cx="822960" cy="822960"/>
          </a:xfrm>
          <a:prstGeom prst="ellipse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5FFC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3352C18-72CE-4C8B-A61B-C56D9FA2F85B}"/>
              </a:ext>
            </a:extLst>
          </p:cNvPr>
          <p:cNvSpPr/>
          <p:nvPr/>
        </p:nvSpPr>
        <p:spPr bwMode="auto">
          <a:xfrm>
            <a:off x="5300331" y="5236426"/>
            <a:ext cx="822960" cy="822960"/>
          </a:xfrm>
          <a:prstGeom prst="ellipse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5FFC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0D9AC9-BB65-46A3-908E-FBCE6CA8F52F}"/>
              </a:ext>
            </a:extLst>
          </p:cNvPr>
          <p:cNvSpPr/>
          <p:nvPr/>
        </p:nvSpPr>
        <p:spPr bwMode="auto">
          <a:xfrm>
            <a:off x="417145" y="1193892"/>
            <a:ext cx="4431692" cy="422618"/>
          </a:xfrm>
          <a:prstGeom prst="rect">
            <a:avLst/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wrap="none" lIns="182880" tIns="182880" rIns="182880" bIns="18288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Medium" panose="020B0603050203000203" pitchFamily="34" charset="0"/>
              <a:cs typeface="Poppins Medium" panose="000006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23D90-E7DB-4396-A117-5C15DCA38E7E}"/>
              </a:ext>
            </a:extLst>
          </p:cNvPr>
          <p:cNvSpPr/>
          <p:nvPr/>
        </p:nvSpPr>
        <p:spPr bwMode="auto">
          <a:xfrm>
            <a:off x="5059582" y="1196476"/>
            <a:ext cx="4431692" cy="422618"/>
          </a:xfrm>
          <a:prstGeom prst="rect">
            <a:avLst/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wrap="none" lIns="182880" tIns="182880" rIns="182880" bIns="18288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Medium" panose="020B0603050203000203" pitchFamily="34" charset="0"/>
              <a:cs typeface="Poppins Medium" panose="000006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5C414E-A551-4334-A793-AD287FED331F}"/>
              </a:ext>
            </a:extLst>
          </p:cNvPr>
          <p:cNvSpPr txBox="1"/>
          <p:nvPr/>
        </p:nvSpPr>
        <p:spPr>
          <a:xfrm>
            <a:off x="6123291" y="1201604"/>
            <a:ext cx="2303835" cy="575076"/>
          </a:xfrm>
          <a:prstGeom prst="rect">
            <a:avLst/>
          </a:prstGeom>
          <a:noFill/>
        </p:spPr>
        <p:txBody>
          <a:bodyPr wrap="square" lIns="91440" tIns="91440" rIns="91440" bIns="9144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Medium" panose="020B0603050203000203" pitchFamily="34" charset="0"/>
                <a:ea typeface="+mn-ea"/>
                <a:cs typeface="+mn-cs"/>
              </a:rPr>
              <a:t>High Attrition affec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DA5BA22-95B8-46AE-BF4F-17A801E3B9EC}"/>
              </a:ext>
            </a:extLst>
          </p:cNvPr>
          <p:cNvSpPr txBox="1"/>
          <p:nvPr/>
        </p:nvSpPr>
        <p:spPr>
          <a:xfrm>
            <a:off x="1307441" y="1198516"/>
            <a:ext cx="2651836" cy="553998"/>
          </a:xfrm>
          <a:prstGeom prst="rect">
            <a:avLst/>
          </a:prstGeom>
          <a:noFill/>
        </p:spPr>
        <p:txBody>
          <a:bodyPr wrap="square" lIns="91440" tIns="91440" rIns="91440" bIns="9144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Medium" panose="020B0603050203000203" pitchFamily="34" charset="0"/>
                <a:ea typeface="+mn-ea"/>
                <a:cs typeface="Poppins Medium" panose="00000600000000000000" pitchFamily="2" charset="0"/>
              </a:rPr>
              <a:t>Reasons for leav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509AAF"/>
              </a:solidFill>
              <a:effectLst/>
              <a:uLnTx/>
              <a:uFillTx/>
              <a:latin typeface="IBM Plex Sans Medium" panose="020B0603050203000203" pitchFamily="34" charset="0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8FD9FF-B85B-4255-9071-0A53A1D3812B}"/>
              </a:ext>
            </a:extLst>
          </p:cNvPr>
          <p:cNvSpPr/>
          <p:nvPr/>
        </p:nvSpPr>
        <p:spPr>
          <a:xfrm>
            <a:off x="5483211" y="2181024"/>
            <a:ext cx="457200" cy="457200"/>
          </a:xfrm>
          <a:custGeom>
            <a:avLst/>
            <a:gdLst>
              <a:gd name="connsiteX0" fmla="*/ 94694 w 1967615"/>
              <a:gd name="connsiteY0" fmla="*/ 1671652 h 1675246"/>
              <a:gd name="connsiteX1" fmla="*/ 34507 w 1967615"/>
              <a:gd name="connsiteY1" fmla="*/ 1641095 h 1675246"/>
              <a:gd name="connsiteX2" fmla="*/ -61 w 1967615"/>
              <a:gd name="connsiteY2" fmla="*/ 1481145 h 1675246"/>
              <a:gd name="connsiteX3" fmla="*/ -61 w 1967615"/>
              <a:gd name="connsiteY3" fmla="*/ 1369724 h 1675246"/>
              <a:gd name="connsiteX4" fmla="*/ 10868 w 1967615"/>
              <a:gd name="connsiteY4" fmla="*/ 1351217 h 1675246"/>
              <a:gd name="connsiteX5" fmla="*/ 74289 w 1967615"/>
              <a:gd name="connsiteY5" fmla="*/ 1299131 h 1675246"/>
              <a:gd name="connsiteX6" fmla="*/ 195843 w 1967615"/>
              <a:gd name="connsiteY6" fmla="*/ 1290054 h 1675246"/>
              <a:gd name="connsiteX7" fmla="*/ 321482 w 1967615"/>
              <a:gd name="connsiteY7" fmla="*/ 1296195 h 1675246"/>
              <a:gd name="connsiteX8" fmla="*/ 369036 w 1967615"/>
              <a:gd name="connsiteY8" fmla="*/ 1321943 h 1675246"/>
              <a:gd name="connsiteX9" fmla="*/ 408918 w 1967615"/>
              <a:gd name="connsiteY9" fmla="*/ 1473680 h 1675246"/>
              <a:gd name="connsiteX10" fmla="*/ 387811 w 1967615"/>
              <a:gd name="connsiteY10" fmla="*/ 1626222 h 1675246"/>
              <a:gd name="connsiteX11" fmla="*/ 327674 w 1967615"/>
              <a:gd name="connsiteY11" fmla="*/ 1667591 h 1675246"/>
              <a:gd name="connsiteX12" fmla="*/ 210056 w 1967615"/>
              <a:gd name="connsiteY12" fmla="*/ 1675197 h 1675246"/>
              <a:gd name="connsiteX13" fmla="*/ 94694 w 1967615"/>
              <a:gd name="connsiteY13" fmla="*/ 1671652 h 1675246"/>
              <a:gd name="connsiteX14" fmla="*/ 311154 w 1967615"/>
              <a:gd name="connsiteY14" fmla="*/ 1618122 h 1675246"/>
              <a:gd name="connsiteX15" fmla="*/ 334994 w 1967615"/>
              <a:gd name="connsiteY15" fmla="*/ 1597785 h 1675246"/>
              <a:gd name="connsiteX16" fmla="*/ 343090 w 1967615"/>
              <a:gd name="connsiteY16" fmla="*/ 1478829 h 1675246"/>
              <a:gd name="connsiteX17" fmla="*/ 332011 w 1967615"/>
              <a:gd name="connsiteY17" fmla="*/ 1361971 h 1675246"/>
              <a:gd name="connsiteX18" fmla="*/ 203890 w 1967615"/>
              <a:gd name="connsiteY18" fmla="*/ 1338735 h 1675246"/>
              <a:gd name="connsiteX19" fmla="*/ 102942 w 1967615"/>
              <a:gd name="connsiteY19" fmla="*/ 1344757 h 1675246"/>
              <a:gd name="connsiteX20" fmla="*/ 59876 w 1967615"/>
              <a:gd name="connsiteY20" fmla="*/ 1481145 h 1675246"/>
              <a:gd name="connsiteX21" fmla="*/ 79503 w 1967615"/>
              <a:gd name="connsiteY21" fmla="*/ 1607622 h 1675246"/>
              <a:gd name="connsiteX22" fmla="*/ 210056 w 1967615"/>
              <a:gd name="connsiteY22" fmla="*/ 1626129 h 1675246"/>
              <a:gd name="connsiteX23" fmla="*/ 311154 w 1967615"/>
              <a:gd name="connsiteY23" fmla="*/ 1618122 h 1675246"/>
              <a:gd name="connsiteX24" fmla="*/ 613797 w 1967615"/>
              <a:gd name="connsiteY24" fmla="*/ 1671652 h 1675246"/>
              <a:gd name="connsiteX25" fmla="*/ 584743 w 1967615"/>
              <a:gd name="connsiteY25" fmla="*/ 1662184 h 1675246"/>
              <a:gd name="connsiteX26" fmla="*/ 527940 w 1967615"/>
              <a:gd name="connsiteY26" fmla="*/ 1611164 h 1675246"/>
              <a:gd name="connsiteX27" fmla="*/ 519041 w 1967615"/>
              <a:gd name="connsiteY27" fmla="*/ 1384471 h 1675246"/>
              <a:gd name="connsiteX28" fmla="*/ 527940 w 1967615"/>
              <a:gd name="connsiteY28" fmla="*/ 1157779 h 1675246"/>
              <a:gd name="connsiteX29" fmla="*/ 594670 w 1967615"/>
              <a:gd name="connsiteY29" fmla="*/ 1103532 h 1675246"/>
              <a:gd name="connsiteX30" fmla="*/ 617933 w 1967615"/>
              <a:gd name="connsiteY30" fmla="*/ 1094453 h 1675246"/>
              <a:gd name="connsiteX31" fmla="*/ 722967 w 1967615"/>
              <a:gd name="connsiteY31" fmla="*/ 1094453 h 1675246"/>
              <a:gd name="connsiteX32" fmla="*/ 828025 w 1967615"/>
              <a:gd name="connsiteY32" fmla="*/ 1094453 h 1675246"/>
              <a:gd name="connsiteX33" fmla="*/ 851514 w 1967615"/>
              <a:gd name="connsiteY33" fmla="*/ 1103628 h 1675246"/>
              <a:gd name="connsiteX34" fmla="*/ 919272 w 1967615"/>
              <a:gd name="connsiteY34" fmla="*/ 1160832 h 1675246"/>
              <a:gd name="connsiteX35" fmla="*/ 928020 w 1967615"/>
              <a:gd name="connsiteY35" fmla="*/ 1377753 h 1675246"/>
              <a:gd name="connsiteX36" fmla="*/ 920901 w 1967615"/>
              <a:gd name="connsiteY36" fmla="*/ 1601034 h 1675246"/>
              <a:gd name="connsiteX37" fmla="*/ 851539 w 1967615"/>
              <a:gd name="connsiteY37" fmla="*/ 1665312 h 1675246"/>
              <a:gd name="connsiteX38" fmla="*/ 828025 w 1967615"/>
              <a:gd name="connsiteY38" fmla="*/ 1674490 h 1675246"/>
              <a:gd name="connsiteX39" fmla="*/ 729158 w 1967615"/>
              <a:gd name="connsiteY39" fmla="*/ 1675197 h 1675246"/>
              <a:gd name="connsiteX40" fmla="*/ 613797 w 1967615"/>
              <a:gd name="connsiteY40" fmla="*/ 1671652 h 1675246"/>
              <a:gd name="connsiteX41" fmla="*/ 832864 w 1967615"/>
              <a:gd name="connsiteY41" fmla="*/ 1616616 h 1675246"/>
              <a:gd name="connsiteX42" fmla="*/ 866304 w 1967615"/>
              <a:gd name="connsiteY42" fmla="*/ 1394619 h 1675246"/>
              <a:gd name="connsiteX43" fmla="*/ 863020 w 1967615"/>
              <a:gd name="connsiteY43" fmla="*/ 1189379 h 1675246"/>
              <a:gd name="connsiteX44" fmla="*/ 807971 w 1967615"/>
              <a:gd name="connsiteY44" fmla="*/ 1145087 h 1675246"/>
              <a:gd name="connsiteX45" fmla="*/ 710608 w 1967615"/>
              <a:gd name="connsiteY45" fmla="*/ 1142485 h 1675246"/>
              <a:gd name="connsiteX46" fmla="*/ 591813 w 1967615"/>
              <a:gd name="connsiteY46" fmla="*/ 1169275 h 1675246"/>
              <a:gd name="connsiteX47" fmla="*/ 580833 w 1967615"/>
              <a:gd name="connsiteY47" fmla="*/ 1182448 h 1675246"/>
              <a:gd name="connsiteX48" fmla="*/ 579680 w 1967615"/>
              <a:gd name="connsiteY48" fmla="*/ 1376954 h 1675246"/>
              <a:gd name="connsiteX49" fmla="*/ 582938 w 1967615"/>
              <a:gd name="connsiteY49" fmla="*/ 1584494 h 1675246"/>
              <a:gd name="connsiteX50" fmla="*/ 629289 w 1967615"/>
              <a:gd name="connsiteY50" fmla="*/ 1623429 h 1675246"/>
              <a:gd name="connsiteX51" fmla="*/ 729459 w 1967615"/>
              <a:gd name="connsiteY51" fmla="*/ 1625974 h 1675246"/>
              <a:gd name="connsiteX52" fmla="*/ 832864 w 1967615"/>
              <a:gd name="connsiteY52" fmla="*/ 1616616 h 1675246"/>
              <a:gd name="connsiteX53" fmla="*/ 1132172 w 1967615"/>
              <a:gd name="connsiteY53" fmla="*/ 1671517 h 1675246"/>
              <a:gd name="connsiteX54" fmla="*/ 1046942 w 1967615"/>
              <a:gd name="connsiteY54" fmla="*/ 1610988 h 1675246"/>
              <a:gd name="connsiteX55" fmla="*/ 1038143 w 1967615"/>
              <a:gd name="connsiteY55" fmla="*/ 1595842 h 1675246"/>
              <a:gd name="connsiteX56" fmla="*/ 1038143 w 1967615"/>
              <a:gd name="connsiteY56" fmla="*/ 1264858 h 1675246"/>
              <a:gd name="connsiteX57" fmla="*/ 1038143 w 1967615"/>
              <a:gd name="connsiteY57" fmla="*/ 933877 h 1675246"/>
              <a:gd name="connsiteX58" fmla="*/ 1047042 w 1967615"/>
              <a:gd name="connsiteY58" fmla="*/ 918555 h 1675246"/>
              <a:gd name="connsiteX59" fmla="*/ 1113772 w 1967615"/>
              <a:gd name="connsiteY59" fmla="*/ 864306 h 1675246"/>
              <a:gd name="connsiteX60" fmla="*/ 1137010 w 1967615"/>
              <a:gd name="connsiteY60" fmla="*/ 855227 h 1675246"/>
              <a:gd name="connsiteX61" fmla="*/ 1242069 w 1967615"/>
              <a:gd name="connsiteY61" fmla="*/ 855227 h 1675246"/>
              <a:gd name="connsiteX62" fmla="*/ 1347128 w 1967615"/>
              <a:gd name="connsiteY62" fmla="*/ 855227 h 1675246"/>
              <a:gd name="connsiteX63" fmla="*/ 1370366 w 1967615"/>
              <a:gd name="connsiteY63" fmla="*/ 864306 h 1675246"/>
              <a:gd name="connsiteX64" fmla="*/ 1437096 w 1967615"/>
              <a:gd name="connsiteY64" fmla="*/ 918555 h 1675246"/>
              <a:gd name="connsiteX65" fmla="*/ 1446020 w 1967615"/>
              <a:gd name="connsiteY65" fmla="*/ 933877 h 1675246"/>
              <a:gd name="connsiteX66" fmla="*/ 1446020 w 1967615"/>
              <a:gd name="connsiteY66" fmla="*/ 1264858 h 1675246"/>
              <a:gd name="connsiteX67" fmla="*/ 1446020 w 1967615"/>
              <a:gd name="connsiteY67" fmla="*/ 1595842 h 1675246"/>
              <a:gd name="connsiteX68" fmla="*/ 1434589 w 1967615"/>
              <a:gd name="connsiteY68" fmla="*/ 1614330 h 1675246"/>
              <a:gd name="connsiteX69" fmla="*/ 1366405 w 1967615"/>
              <a:gd name="connsiteY69" fmla="*/ 1667408 h 1675246"/>
              <a:gd name="connsiteX70" fmla="*/ 1248261 w 1967615"/>
              <a:gd name="connsiteY70" fmla="*/ 1675197 h 1675246"/>
              <a:gd name="connsiteX71" fmla="*/ 1132172 w 1967615"/>
              <a:gd name="connsiteY71" fmla="*/ 1671517 h 1675246"/>
              <a:gd name="connsiteX72" fmla="*/ 1350011 w 1967615"/>
              <a:gd name="connsiteY72" fmla="*/ 1617797 h 1675246"/>
              <a:gd name="connsiteX73" fmla="*/ 1374727 w 1967615"/>
              <a:gd name="connsiteY73" fmla="*/ 1598133 h 1675246"/>
              <a:gd name="connsiteX74" fmla="*/ 1384203 w 1967615"/>
              <a:gd name="connsiteY74" fmla="*/ 1586011 h 1675246"/>
              <a:gd name="connsiteX75" fmla="*/ 1384203 w 1967615"/>
              <a:gd name="connsiteY75" fmla="*/ 1264858 h 1675246"/>
              <a:gd name="connsiteX76" fmla="*/ 1384203 w 1967615"/>
              <a:gd name="connsiteY76" fmla="*/ 943708 h 1675246"/>
              <a:gd name="connsiteX77" fmla="*/ 1374727 w 1967615"/>
              <a:gd name="connsiteY77" fmla="*/ 931585 h 1675246"/>
              <a:gd name="connsiteX78" fmla="*/ 1350011 w 1967615"/>
              <a:gd name="connsiteY78" fmla="*/ 911922 h 1675246"/>
              <a:gd name="connsiteX79" fmla="*/ 1241768 w 1967615"/>
              <a:gd name="connsiteY79" fmla="*/ 904385 h 1675246"/>
              <a:gd name="connsiteX80" fmla="*/ 1148767 w 1967615"/>
              <a:gd name="connsiteY80" fmla="*/ 904385 h 1675246"/>
              <a:gd name="connsiteX81" fmla="*/ 1132222 w 1967615"/>
              <a:gd name="connsiteY81" fmla="*/ 913103 h 1675246"/>
              <a:gd name="connsiteX82" fmla="*/ 1107806 w 1967615"/>
              <a:gd name="connsiteY82" fmla="*/ 934403 h 1675246"/>
              <a:gd name="connsiteX83" fmla="*/ 1098807 w 1967615"/>
              <a:gd name="connsiteY83" fmla="*/ 1254934 h 1675246"/>
              <a:gd name="connsiteX84" fmla="*/ 1102241 w 1967615"/>
              <a:gd name="connsiteY84" fmla="*/ 1580338 h 1675246"/>
              <a:gd name="connsiteX85" fmla="*/ 1148366 w 1967615"/>
              <a:gd name="connsiteY85" fmla="*/ 1623429 h 1675246"/>
              <a:gd name="connsiteX86" fmla="*/ 1248261 w 1967615"/>
              <a:gd name="connsiteY86" fmla="*/ 1625974 h 1675246"/>
              <a:gd name="connsiteX87" fmla="*/ 1350011 w 1967615"/>
              <a:gd name="connsiteY87" fmla="*/ 1617797 h 1675246"/>
              <a:gd name="connsiteX88" fmla="*/ 1651274 w 1967615"/>
              <a:gd name="connsiteY88" fmla="*/ 1671517 h 1675246"/>
              <a:gd name="connsiteX89" fmla="*/ 1564665 w 1967615"/>
              <a:gd name="connsiteY89" fmla="*/ 1606230 h 1675246"/>
              <a:gd name="connsiteX90" fmla="*/ 1557245 w 1967615"/>
              <a:gd name="connsiteY90" fmla="*/ 1053490 h 1675246"/>
              <a:gd name="connsiteX91" fmla="*/ 1557245 w 1967615"/>
              <a:gd name="connsiteY91" fmla="*/ 517692 h 1675246"/>
              <a:gd name="connsiteX92" fmla="*/ 1567949 w 1967615"/>
              <a:gd name="connsiteY92" fmla="*/ 499518 h 1675246"/>
              <a:gd name="connsiteX93" fmla="*/ 1632699 w 1967615"/>
              <a:gd name="connsiteY93" fmla="*/ 446483 h 1675246"/>
              <a:gd name="connsiteX94" fmla="*/ 1660073 w 1967615"/>
              <a:gd name="connsiteY94" fmla="*/ 435766 h 1675246"/>
              <a:gd name="connsiteX95" fmla="*/ 1761096 w 1967615"/>
              <a:gd name="connsiteY95" fmla="*/ 435766 h 1675246"/>
              <a:gd name="connsiteX96" fmla="*/ 1862119 w 1967615"/>
              <a:gd name="connsiteY96" fmla="*/ 435766 h 1675246"/>
              <a:gd name="connsiteX97" fmla="*/ 1887838 w 1967615"/>
              <a:gd name="connsiteY97" fmla="*/ 445222 h 1675246"/>
              <a:gd name="connsiteX98" fmla="*/ 1956198 w 1967615"/>
              <a:gd name="connsiteY98" fmla="*/ 499092 h 1675246"/>
              <a:gd name="connsiteX99" fmla="*/ 1965097 w 1967615"/>
              <a:gd name="connsiteY99" fmla="*/ 514414 h 1675246"/>
              <a:gd name="connsiteX100" fmla="*/ 1966225 w 1967615"/>
              <a:gd name="connsiteY100" fmla="*/ 896170 h 1675246"/>
              <a:gd name="connsiteX101" fmla="*/ 1962766 w 1967615"/>
              <a:gd name="connsiteY101" fmla="*/ 1286677 h 1675246"/>
              <a:gd name="connsiteX102" fmla="*/ 1910926 w 1967615"/>
              <a:gd name="connsiteY102" fmla="*/ 1292097 h 1675246"/>
              <a:gd name="connsiteX103" fmla="*/ 1905361 w 1967615"/>
              <a:gd name="connsiteY103" fmla="*/ 905781 h 1675246"/>
              <a:gd name="connsiteX104" fmla="*/ 1903305 w 1967615"/>
              <a:gd name="connsiteY104" fmla="*/ 523764 h 1675246"/>
              <a:gd name="connsiteX105" fmla="*/ 1893077 w 1967615"/>
              <a:gd name="connsiteY105" fmla="*/ 511889 h 1675246"/>
              <a:gd name="connsiteX106" fmla="*/ 1760193 w 1967615"/>
              <a:gd name="connsiteY106" fmla="*/ 486558 h 1675246"/>
              <a:gd name="connsiteX107" fmla="*/ 1653731 w 1967615"/>
              <a:gd name="connsiteY107" fmla="*/ 494011 h 1675246"/>
              <a:gd name="connsiteX108" fmla="*/ 1630468 w 1967615"/>
              <a:gd name="connsiteY108" fmla="*/ 512518 h 1675246"/>
              <a:gd name="connsiteX109" fmla="*/ 1621093 w 1967615"/>
              <a:gd name="connsiteY109" fmla="*/ 523576 h 1675246"/>
              <a:gd name="connsiteX110" fmla="*/ 1621093 w 1967615"/>
              <a:gd name="connsiteY110" fmla="*/ 1054297 h 1675246"/>
              <a:gd name="connsiteX111" fmla="*/ 1651299 w 1967615"/>
              <a:gd name="connsiteY111" fmla="*/ 1616616 h 1675246"/>
              <a:gd name="connsiteX112" fmla="*/ 1751069 w 1967615"/>
              <a:gd name="connsiteY112" fmla="*/ 1626390 h 1675246"/>
              <a:gd name="connsiteX113" fmla="*/ 1852067 w 1967615"/>
              <a:gd name="connsiteY113" fmla="*/ 1623640 h 1675246"/>
              <a:gd name="connsiteX114" fmla="*/ 1900798 w 1967615"/>
              <a:gd name="connsiteY114" fmla="*/ 1585855 h 1675246"/>
              <a:gd name="connsiteX115" fmla="*/ 1905336 w 1967615"/>
              <a:gd name="connsiteY115" fmla="*/ 1469092 h 1675246"/>
              <a:gd name="connsiteX116" fmla="*/ 1905361 w 1967615"/>
              <a:gd name="connsiteY116" fmla="*/ 1365285 h 1675246"/>
              <a:gd name="connsiteX117" fmla="*/ 1916215 w 1967615"/>
              <a:gd name="connsiteY117" fmla="*/ 1358494 h 1675246"/>
              <a:gd name="connsiteX118" fmla="*/ 1957251 w 1967615"/>
              <a:gd name="connsiteY118" fmla="*/ 1359902 h 1675246"/>
              <a:gd name="connsiteX119" fmla="*/ 1967554 w 1967615"/>
              <a:gd name="connsiteY119" fmla="*/ 1368105 h 1675246"/>
              <a:gd name="connsiteX120" fmla="*/ 1966325 w 1967615"/>
              <a:gd name="connsiteY120" fmla="*/ 1481972 h 1675246"/>
              <a:gd name="connsiteX121" fmla="*/ 1955646 w 1967615"/>
              <a:gd name="connsiteY121" fmla="*/ 1612227 h 1675246"/>
              <a:gd name="connsiteX122" fmla="*/ 1887212 w 1967615"/>
              <a:gd name="connsiteY122" fmla="*/ 1666937 h 1675246"/>
              <a:gd name="connsiteX123" fmla="*/ 1767363 w 1967615"/>
              <a:gd name="connsiteY123" fmla="*/ 1675197 h 1675246"/>
              <a:gd name="connsiteX124" fmla="*/ 1651274 w 1967615"/>
              <a:gd name="connsiteY124" fmla="*/ 1671517 h 1675246"/>
              <a:gd name="connsiteX125" fmla="*/ 222239 w 1967615"/>
              <a:gd name="connsiteY125" fmla="*/ 914364 h 1675246"/>
              <a:gd name="connsiteX126" fmla="*/ 212112 w 1967615"/>
              <a:gd name="connsiteY126" fmla="*/ 898253 h 1675246"/>
              <a:gd name="connsiteX127" fmla="*/ 305990 w 1967615"/>
              <a:gd name="connsiteY127" fmla="*/ 789141 h 1675246"/>
              <a:gd name="connsiteX128" fmla="*/ 416965 w 1967615"/>
              <a:gd name="connsiteY128" fmla="*/ 669668 h 1675246"/>
              <a:gd name="connsiteX129" fmla="*/ 434086 w 1967615"/>
              <a:gd name="connsiteY129" fmla="*/ 651238 h 1675246"/>
              <a:gd name="connsiteX130" fmla="*/ 316970 w 1967615"/>
              <a:gd name="connsiteY130" fmla="*/ 584465 h 1675246"/>
              <a:gd name="connsiteX131" fmla="*/ 197798 w 1967615"/>
              <a:gd name="connsiteY131" fmla="*/ 490740 h 1675246"/>
              <a:gd name="connsiteX132" fmla="*/ 277037 w 1967615"/>
              <a:gd name="connsiteY132" fmla="*/ 468562 h 1675246"/>
              <a:gd name="connsiteX133" fmla="*/ 406587 w 1967615"/>
              <a:gd name="connsiteY133" fmla="*/ 447059 h 1675246"/>
              <a:gd name="connsiteX134" fmla="*/ 518740 w 1967615"/>
              <a:gd name="connsiteY134" fmla="*/ 438496 h 1675246"/>
              <a:gd name="connsiteX135" fmla="*/ 520069 w 1967615"/>
              <a:gd name="connsiteY135" fmla="*/ 471367 h 1675246"/>
              <a:gd name="connsiteX136" fmla="*/ 449002 w 1967615"/>
              <a:gd name="connsiteY136" fmla="*/ 491040 h 1675246"/>
              <a:gd name="connsiteX137" fmla="*/ 350135 w 1967615"/>
              <a:gd name="connsiteY137" fmla="*/ 508187 h 1675246"/>
              <a:gd name="connsiteX138" fmla="*/ 310302 w 1967615"/>
              <a:gd name="connsiteY138" fmla="*/ 515732 h 1675246"/>
              <a:gd name="connsiteX139" fmla="*/ 388238 w 1967615"/>
              <a:gd name="connsiteY139" fmla="*/ 563571 h 1675246"/>
              <a:gd name="connsiteX140" fmla="*/ 488859 w 1967615"/>
              <a:gd name="connsiteY140" fmla="*/ 621814 h 1675246"/>
              <a:gd name="connsiteX141" fmla="*/ 416013 w 1967615"/>
              <a:gd name="connsiteY141" fmla="*/ 754916 h 1675246"/>
              <a:gd name="connsiteX142" fmla="*/ 323362 w 1967615"/>
              <a:gd name="connsiteY142" fmla="*/ 855946 h 1675246"/>
              <a:gd name="connsiteX143" fmla="*/ 512874 w 1967615"/>
              <a:gd name="connsiteY143" fmla="*/ 808536 h 1675246"/>
              <a:gd name="connsiteX144" fmla="*/ 1354648 w 1967615"/>
              <a:gd name="connsiteY144" fmla="*/ 291717 h 1675246"/>
              <a:gd name="connsiteX145" fmla="*/ 1423008 w 1967615"/>
              <a:gd name="connsiteY145" fmla="*/ 237503 h 1675246"/>
              <a:gd name="connsiteX146" fmla="*/ 1462113 w 1967615"/>
              <a:gd name="connsiteY146" fmla="*/ 257372 h 1675246"/>
              <a:gd name="connsiteX147" fmla="*/ 1488810 w 1967615"/>
              <a:gd name="connsiteY147" fmla="*/ 277240 h 1675246"/>
              <a:gd name="connsiteX148" fmla="*/ 1492871 w 1967615"/>
              <a:gd name="connsiteY148" fmla="*/ 264744 h 1675246"/>
              <a:gd name="connsiteX149" fmla="*/ 1545464 w 1967615"/>
              <a:gd name="connsiteY149" fmla="*/ 58279 h 1675246"/>
              <a:gd name="connsiteX150" fmla="*/ 1275309 w 1967615"/>
              <a:gd name="connsiteY150" fmla="*/ 98480 h 1675246"/>
              <a:gd name="connsiteX151" fmla="*/ 1298998 w 1967615"/>
              <a:gd name="connsiteY151" fmla="*/ 123834 h 1675246"/>
              <a:gd name="connsiteX152" fmla="*/ 1328603 w 1967615"/>
              <a:gd name="connsiteY152" fmla="*/ 159545 h 1675246"/>
              <a:gd name="connsiteX153" fmla="*/ 1301730 w 1967615"/>
              <a:gd name="connsiteY153" fmla="*/ 189684 h 1675246"/>
              <a:gd name="connsiteX154" fmla="*/ 863045 w 1967615"/>
              <a:gd name="connsiteY154" fmla="*/ 387641 h 1675246"/>
              <a:gd name="connsiteX155" fmla="*/ 631119 w 1967615"/>
              <a:gd name="connsiteY155" fmla="*/ 450511 h 1675246"/>
              <a:gd name="connsiteX156" fmla="*/ 603494 w 1967615"/>
              <a:gd name="connsiteY156" fmla="*/ 427231 h 1675246"/>
              <a:gd name="connsiteX157" fmla="*/ 645683 w 1967615"/>
              <a:gd name="connsiteY157" fmla="*/ 396355 h 1675246"/>
              <a:gd name="connsiteX158" fmla="*/ 1211085 w 1967615"/>
              <a:gd name="connsiteY158" fmla="*/ 182018 h 1675246"/>
              <a:gd name="connsiteX159" fmla="*/ 1251194 w 1967615"/>
              <a:gd name="connsiteY159" fmla="*/ 158344 h 1675246"/>
              <a:gd name="connsiteX160" fmla="*/ 1213968 w 1967615"/>
              <a:gd name="connsiteY160" fmla="*/ 128145 h 1675246"/>
              <a:gd name="connsiteX161" fmla="*/ 1173935 w 1967615"/>
              <a:gd name="connsiteY161" fmla="*/ 89052 h 1675246"/>
              <a:gd name="connsiteX162" fmla="*/ 1193889 w 1967615"/>
              <a:gd name="connsiteY162" fmla="*/ 60909 h 1675246"/>
              <a:gd name="connsiteX163" fmla="*/ 1399243 w 1967615"/>
              <a:gd name="connsiteY163" fmla="*/ 27685 h 1675246"/>
              <a:gd name="connsiteX164" fmla="*/ 1606178 w 1967615"/>
              <a:gd name="connsiteY164" fmla="*/ 2637 h 1675246"/>
              <a:gd name="connsiteX165" fmla="*/ 1619363 w 1967615"/>
              <a:gd name="connsiteY165" fmla="*/ 16136 h 1675246"/>
              <a:gd name="connsiteX166" fmla="*/ 1534083 w 1967615"/>
              <a:gd name="connsiteY166" fmla="*/ 343113 h 1675246"/>
              <a:gd name="connsiteX167" fmla="*/ 1505505 w 1967615"/>
              <a:gd name="connsiteY167" fmla="*/ 355477 h 1675246"/>
              <a:gd name="connsiteX168" fmla="*/ 1462740 w 1967615"/>
              <a:gd name="connsiteY168" fmla="*/ 329261 h 1675246"/>
              <a:gd name="connsiteX169" fmla="*/ 1426768 w 1967615"/>
              <a:gd name="connsiteY169" fmla="*/ 303045 h 1675246"/>
              <a:gd name="connsiteX170" fmla="*/ 1404633 w 1967615"/>
              <a:gd name="connsiteY170" fmla="*/ 323525 h 1675246"/>
              <a:gd name="connsiteX171" fmla="*/ 1066996 w 1967615"/>
              <a:gd name="connsiteY171" fmla="*/ 599626 h 1675246"/>
              <a:gd name="connsiteX172" fmla="*/ 321607 w 1967615"/>
              <a:gd name="connsiteY172" fmla="*/ 909538 h 1675246"/>
              <a:gd name="connsiteX173" fmla="*/ 222239 w 1967615"/>
              <a:gd name="connsiteY173" fmla="*/ 914364 h 1675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1967615" h="1675246">
                <a:moveTo>
                  <a:pt x="94694" y="1671652"/>
                </a:moveTo>
                <a:cubicBezTo>
                  <a:pt x="67596" y="1664656"/>
                  <a:pt x="54235" y="1657875"/>
                  <a:pt x="34507" y="1641095"/>
                </a:cubicBezTo>
                <a:cubicBezTo>
                  <a:pt x="741" y="1612397"/>
                  <a:pt x="-61" y="1608687"/>
                  <a:pt x="-61" y="1481145"/>
                </a:cubicBezTo>
                <a:lnTo>
                  <a:pt x="-61" y="1369724"/>
                </a:lnTo>
                <a:lnTo>
                  <a:pt x="10868" y="1351217"/>
                </a:lnTo>
                <a:cubicBezTo>
                  <a:pt x="24154" y="1328666"/>
                  <a:pt x="47016" y="1309875"/>
                  <a:pt x="74289" y="1299131"/>
                </a:cubicBezTo>
                <a:cubicBezTo>
                  <a:pt x="94043" y="1291340"/>
                  <a:pt x="98004" y="1291042"/>
                  <a:pt x="195843" y="1290054"/>
                </a:cubicBezTo>
                <a:cubicBezTo>
                  <a:pt x="291351" y="1289089"/>
                  <a:pt x="298320" y="1289430"/>
                  <a:pt x="321482" y="1296195"/>
                </a:cubicBezTo>
                <a:cubicBezTo>
                  <a:pt x="339456" y="1301447"/>
                  <a:pt x="352165" y="1308321"/>
                  <a:pt x="369036" y="1321943"/>
                </a:cubicBezTo>
                <a:cubicBezTo>
                  <a:pt x="406236" y="1351979"/>
                  <a:pt x="407163" y="1355511"/>
                  <a:pt x="408918" y="1473680"/>
                </a:cubicBezTo>
                <a:cubicBezTo>
                  <a:pt x="410548" y="1583163"/>
                  <a:pt x="408116" y="1600628"/>
                  <a:pt x="387811" y="1626222"/>
                </a:cubicBezTo>
                <a:cubicBezTo>
                  <a:pt x="374776" y="1642629"/>
                  <a:pt x="350962" y="1659023"/>
                  <a:pt x="327674" y="1667591"/>
                </a:cubicBezTo>
                <a:cubicBezTo>
                  <a:pt x="310477" y="1673923"/>
                  <a:pt x="300826" y="1674547"/>
                  <a:pt x="210056" y="1675197"/>
                </a:cubicBezTo>
                <a:cubicBezTo>
                  <a:pt x="138137" y="1675711"/>
                  <a:pt x="106702" y="1674746"/>
                  <a:pt x="94694" y="1671652"/>
                </a:cubicBezTo>
                <a:close/>
                <a:moveTo>
                  <a:pt x="311154" y="1618122"/>
                </a:moveTo>
                <a:cubicBezTo>
                  <a:pt x="319176" y="1614157"/>
                  <a:pt x="329905" y="1605005"/>
                  <a:pt x="334994" y="1597785"/>
                </a:cubicBezTo>
                <a:cubicBezTo>
                  <a:pt x="344169" y="1584815"/>
                  <a:pt x="344269" y="1583389"/>
                  <a:pt x="343090" y="1478829"/>
                </a:cubicBezTo>
                <a:cubicBezTo>
                  <a:pt x="341887" y="1373066"/>
                  <a:pt x="341887" y="1372995"/>
                  <a:pt x="332011" y="1361971"/>
                </a:cubicBezTo>
                <a:cubicBezTo>
                  <a:pt x="313511" y="1341347"/>
                  <a:pt x="299122" y="1338735"/>
                  <a:pt x="203890" y="1338735"/>
                </a:cubicBezTo>
                <a:cubicBezTo>
                  <a:pt x="130642" y="1338735"/>
                  <a:pt x="117230" y="1339538"/>
                  <a:pt x="102942" y="1344757"/>
                </a:cubicBezTo>
                <a:cubicBezTo>
                  <a:pt x="62909" y="1359381"/>
                  <a:pt x="60076" y="1368310"/>
                  <a:pt x="59876" y="1481145"/>
                </a:cubicBezTo>
                <a:cubicBezTo>
                  <a:pt x="59725" y="1579523"/>
                  <a:pt x="61630" y="1591809"/>
                  <a:pt x="79503" y="1607622"/>
                </a:cubicBezTo>
                <a:cubicBezTo>
                  <a:pt x="99056" y="1624908"/>
                  <a:pt x="113897" y="1627011"/>
                  <a:pt x="210056" y="1626129"/>
                </a:cubicBezTo>
                <a:cubicBezTo>
                  <a:pt x="291100" y="1625385"/>
                  <a:pt x="297492" y="1624878"/>
                  <a:pt x="311154" y="1618122"/>
                </a:cubicBezTo>
                <a:close/>
                <a:moveTo>
                  <a:pt x="613797" y="1671652"/>
                </a:moveTo>
                <a:cubicBezTo>
                  <a:pt x="604747" y="1669313"/>
                  <a:pt x="591662" y="1665052"/>
                  <a:pt x="584743" y="1662184"/>
                </a:cubicBezTo>
                <a:cubicBezTo>
                  <a:pt x="566920" y="1654794"/>
                  <a:pt x="538418" y="1629185"/>
                  <a:pt x="527940" y="1611164"/>
                </a:cubicBezTo>
                <a:cubicBezTo>
                  <a:pt x="519116" y="1595963"/>
                  <a:pt x="519041" y="1594175"/>
                  <a:pt x="519041" y="1384471"/>
                </a:cubicBezTo>
                <a:cubicBezTo>
                  <a:pt x="519041" y="1174767"/>
                  <a:pt x="519116" y="1172980"/>
                  <a:pt x="527940" y="1157779"/>
                </a:cubicBezTo>
                <a:cubicBezTo>
                  <a:pt x="540549" y="1136078"/>
                  <a:pt x="567572" y="1114124"/>
                  <a:pt x="594670" y="1103532"/>
                </a:cubicBezTo>
                <a:lnTo>
                  <a:pt x="617933" y="1094453"/>
                </a:lnTo>
                <a:lnTo>
                  <a:pt x="722967" y="1094453"/>
                </a:lnTo>
                <a:lnTo>
                  <a:pt x="828025" y="1094453"/>
                </a:lnTo>
                <a:lnTo>
                  <a:pt x="851514" y="1103628"/>
                </a:lnTo>
                <a:cubicBezTo>
                  <a:pt x="879715" y="1114635"/>
                  <a:pt x="908769" y="1139186"/>
                  <a:pt x="919272" y="1160832"/>
                </a:cubicBezTo>
                <a:cubicBezTo>
                  <a:pt x="926216" y="1175174"/>
                  <a:pt x="926892" y="1191974"/>
                  <a:pt x="928020" y="1377753"/>
                </a:cubicBezTo>
                <a:cubicBezTo>
                  <a:pt x="929224" y="1572279"/>
                  <a:pt x="928998" y="1579872"/>
                  <a:pt x="920901" y="1601034"/>
                </a:cubicBezTo>
                <a:cubicBezTo>
                  <a:pt x="910348" y="1628691"/>
                  <a:pt x="884879" y="1652285"/>
                  <a:pt x="851539" y="1665312"/>
                </a:cubicBezTo>
                <a:lnTo>
                  <a:pt x="828025" y="1674490"/>
                </a:lnTo>
                <a:lnTo>
                  <a:pt x="729158" y="1675197"/>
                </a:lnTo>
                <a:cubicBezTo>
                  <a:pt x="657214" y="1675711"/>
                  <a:pt x="625779" y="1674746"/>
                  <a:pt x="613797" y="1671652"/>
                </a:cubicBezTo>
                <a:close/>
                <a:moveTo>
                  <a:pt x="832864" y="1616616"/>
                </a:moveTo>
                <a:cubicBezTo>
                  <a:pt x="866128" y="1599084"/>
                  <a:pt x="864950" y="1606860"/>
                  <a:pt x="866304" y="1394619"/>
                </a:cubicBezTo>
                <a:cubicBezTo>
                  <a:pt x="867106" y="1268511"/>
                  <a:pt x="866028" y="1200858"/>
                  <a:pt x="863020" y="1189379"/>
                </a:cubicBezTo>
                <a:cubicBezTo>
                  <a:pt x="856979" y="1166244"/>
                  <a:pt x="837075" y="1150221"/>
                  <a:pt x="807971" y="1145087"/>
                </a:cubicBezTo>
                <a:cubicBezTo>
                  <a:pt x="794886" y="1142781"/>
                  <a:pt x="757811" y="1141788"/>
                  <a:pt x="710608" y="1142485"/>
                </a:cubicBezTo>
                <a:cubicBezTo>
                  <a:pt x="623272" y="1143771"/>
                  <a:pt x="610663" y="1146616"/>
                  <a:pt x="591813" y="1169275"/>
                </a:cubicBezTo>
                <a:lnTo>
                  <a:pt x="580833" y="1182448"/>
                </a:lnTo>
                <a:lnTo>
                  <a:pt x="579680" y="1376954"/>
                </a:lnTo>
                <a:cubicBezTo>
                  <a:pt x="578903" y="1507737"/>
                  <a:pt x="579981" y="1575730"/>
                  <a:pt x="582938" y="1584494"/>
                </a:cubicBezTo>
                <a:cubicBezTo>
                  <a:pt x="588228" y="1600076"/>
                  <a:pt x="610764" y="1619012"/>
                  <a:pt x="629289" y="1623429"/>
                </a:cubicBezTo>
                <a:cubicBezTo>
                  <a:pt x="636633" y="1625179"/>
                  <a:pt x="681705" y="1626325"/>
                  <a:pt x="729459" y="1625974"/>
                </a:cubicBezTo>
                <a:cubicBezTo>
                  <a:pt x="815993" y="1625337"/>
                  <a:pt x="816369" y="1625302"/>
                  <a:pt x="832864" y="1616616"/>
                </a:cubicBezTo>
                <a:close/>
                <a:moveTo>
                  <a:pt x="1132172" y="1671517"/>
                </a:moveTo>
                <a:cubicBezTo>
                  <a:pt x="1095749" y="1662229"/>
                  <a:pt x="1063386" y="1639245"/>
                  <a:pt x="1046942" y="1610988"/>
                </a:cubicBezTo>
                <a:lnTo>
                  <a:pt x="1038143" y="1595842"/>
                </a:lnTo>
                <a:lnTo>
                  <a:pt x="1038143" y="1264858"/>
                </a:lnTo>
                <a:lnTo>
                  <a:pt x="1038143" y="933877"/>
                </a:lnTo>
                <a:lnTo>
                  <a:pt x="1047042" y="918555"/>
                </a:lnTo>
                <a:cubicBezTo>
                  <a:pt x="1059651" y="896852"/>
                  <a:pt x="1086649" y="874900"/>
                  <a:pt x="1113772" y="864306"/>
                </a:cubicBezTo>
                <a:lnTo>
                  <a:pt x="1137010" y="855227"/>
                </a:lnTo>
                <a:lnTo>
                  <a:pt x="1242069" y="855227"/>
                </a:lnTo>
                <a:lnTo>
                  <a:pt x="1347128" y="855227"/>
                </a:lnTo>
                <a:lnTo>
                  <a:pt x="1370366" y="864306"/>
                </a:lnTo>
                <a:cubicBezTo>
                  <a:pt x="1397489" y="874900"/>
                  <a:pt x="1424487" y="896852"/>
                  <a:pt x="1437096" y="918555"/>
                </a:cubicBezTo>
                <a:lnTo>
                  <a:pt x="1446020" y="933877"/>
                </a:lnTo>
                <a:lnTo>
                  <a:pt x="1446020" y="1264858"/>
                </a:lnTo>
                <a:lnTo>
                  <a:pt x="1446020" y="1595842"/>
                </a:lnTo>
                <a:lnTo>
                  <a:pt x="1434589" y="1614330"/>
                </a:lnTo>
                <a:cubicBezTo>
                  <a:pt x="1421278" y="1635898"/>
                  <a:pt x="1393678" y="1657379"/>
                  <a:pt x="1366405" y="1667408"/>
                </a:cubicBezTo>
                <a:cubicBezTo>
                  <a:pt x="1348556" y="1673968"/>
                  <a:pt x="1339833" y="1674542"/>
                  <a:pt x="1248261" y="1675197"/>
                </a:cubicBezTo>
                <a:cubicBezTo>
                  <a:pt x="1174913" y="1675721"/>
                  <a:pt x="1144931" y="1674771"/>
                  <a:pt x="1132172" y="1671517"/>
                </a:cubicBezTo>
                <a:close/>
                <a:moveTo>
                  <a:pt x="1350011" y="1617797"/>
                </a:moveTo>
                <a:cubicBezTo>
                  <a:pt x="1358408" y="1613650"/>
                  <a:pt x="1369513" y="1604802"/>
                  <a:pt x="1374727" y="1598133"/>
                </a:cubicBezTo>
                <a:lnTo>
                  <a:pt x="1384203" y="1586011"/>
                </a:lnTo>
                <a:lnTo>
                  <a:pt x="1384203" y="1264858"/>
                </a:lnTo>
                <a:lnTo>
                  <a:pt x="1384203" y="943708"/>
                </a:lnTo>
                <a:lnTo>
                  <a:pt x="1374727" y="931585"/>
                </a:lnTo>
                <a:cubicBezTo>
                  <a:pt x="1369513" y="924918"/>
                  <a:pt x="1358408" y="916069"/>
                  <a:pt x="1350011" y="911922"/>
                </a:cubicBezTo>
                <a:cubicBezTo>
                  <a:pt x="1335271" y="904635"/>
                  <a:pt x="1331661" y="904385"/>
                  <a:pt x="1241768" y="904385"/>
                </a:cubicBezTo>
                <a:lnTo>
                  <a:pt x="1148767" y="904385"/>
                </a:lnTo>
                <a:lnTo>
                  <a:pt x="1132222" y="913103"/>
                </a:lnTo>
                <a:cubicBezTo>
                  <a:pt x="1123098" y="917899"/>
                  <a:pt x="1112118" y="927484"/>
                  <a:pt x="1107806" y="934403"/>
                </a:cubicBezTo>
                <a:cubicBezTo>
                  <a:pt x="1100261" y="946468"/>
                  <a:pt x="1099885" y="959611"/>
                  <a:pt x="1098807" y="1254934"/>
                </a:cubicBezTo>
                <a:cubicBezTo>
                  <a:pt x="1098030" y="1470434"/>
                  <a:pt x="1099033" y="1568125"/>
                  <a:pt x="1102241" y="1580338"/>
                </a:cubicBezTo>
                <a:cubicBezTo>
                  <a:pt x="1107481" y="1600405"/>
                  <a:pt x="1126557" y="1618225"/>
                  <a:pt x="1148366" y="1623429"/>
                </a:cubicBezTo>
                <a:cubicBezTo>
                  <a:pt x="1155736" y="1625179"/>
                  <a:pt x="1200682" y="1626325"/>
                  <a:pt x="1248261" y="1625974"/>
                </a:cubicBezTo>
                <a:cubicBezTo>
                  <a:pt x="1330658" y="1625365"/>
                  <a:pt x="1335496" y="1624976"/>
                  <a:pt x="1350011" y="1617797"/>
                </a:cubicBezTo>
                <a:close/>
                <a:moveTo>
                  <a:pt x="1651274" y="1671517"/>
                </a:moveTo>
                <a:cubicBezTo>
                  <a:pt x="1612269" y="1661575"/>
                  <a:pt x="1577425" y="1635317"/>
                  <a:pt x="1564665" y="1606230"/>
                </a:cubicBezTo>
                <a:cubicBezTo>
                  <a:pt x="1557621" y="1590167"/>
                  <a:pt x="1557245" y="1561432"/>
                  <a:pt x="1557245" y="1053490"/>
                </a:cubicBezTo>
                <a:lnTo>
                  <a:pt x="1557245" y="517692"/>
                </a:lnTo>
                <a:lnTo>
                  <a:pt x="1567949" y="499518"/>
                </a:lnTo>
                <a:cubicBezTo>
                  <a:pt x="1583266" y="473581"/>
                  <a:pt x="1601339" y="458761"/>
                  <a:pt x="1632699" y="446483"/>
                </a:cubicBezTo>
                <a:lnTo>
                  <a:pt x="1660073" y="435766"/>
                </a:lnTo>
                <a:lnTo>
                  <a:pt x="1761096" y="435766"/>
                </a:lnTo>
                <a:lnTo>
                  <a:pt x="1862119" y="435766"/>
                </a:lnTo>
                <a:lnTo>
                  <a:pt x="1887838" y="445222"/>
                </a:lnTo>
                <a:cubicBezTo>
                  <a:pt x="1917318" y="456043"/>
                  <a:pt x="1942912" y="476225"/>
                  <a:pt x="1956198" y="499092"/>
                </a:cubicBezTo>
                <a:lnTo>
                  <a:pt x="1965097" y="514414"/>
                </a:lnTo>
                <a:lnTo>
                  <a:pt x="1966225" y="896170"/>
                </a:lnTo>
                <a:cubicBezTo>
                  <a:pt x="1967027" y="1169491"/>
                  <a:pt x="1966050" y="1280413"/>
                  <a:pt x="1962766" y="1286677"/>
                </a:cubicBezTo>
                <a:cubicBezTo>
                  <a:pt x="1954468" y="1302620"/>
                  <a:pt x="1922206" y="1305994"/>
                  <a:pt x="1910926" y="1292097"/>
                </a:cubicBezTo>
                <a:cubicBezTo>
                  <a:pt x="1908996" y="1289733"/>
                  <a:pt x="1906514" y="1115891"/>
                  <a:pt x="1905361" y="905781"/>
                </a:cubicBezTo>
                <a:lnTo>
                  <a:pt x="1903305" y="523764"/>
                </a:lnTo>
                <a:lnTo>
                  <a:pt x="1893077" y="511889"/>
                </a:lnTo>
                <a:cubicBezTo>
                  <a:pt x="1872597" y="488103"/>
                  <a:pt x="1864500" y="486558"/>
                  <a:pt x="1760193" y="486558"/>
                </a:cubicBezTo>
                <a:cubicBezTo>
                  <a:pt x="1670752" y="486558"/>
                  <a:pt x="1667167" y="486809"/>
                  <a:pt x="1653731" y="494011"/>
                </a:cubicBezTo>
                <a:cubicBezTo>
                  <a:pt x="1646085" y="498110"/>
                  <a:pt x="1635607" y="506437"/>
                  <a:pt x="1630468" y="512518"/>
                </a:cubicBezTo>
                <a:lnTo>
                  <a:pt x="1621093" y="523576"/>
                </a:lnTo>
                <a:lnTo>
                  <a:pt x="1621093" y="1054297"/>
                </a:lnTo>
                <a:cubicBezTo>
                  <a:pt x="1621093" y="1648765"/>
                  <a:pt x="1618436" y="1599307"/>
                  <a:pt x="1651299" y="1616616"/>
                </a:cubicBezTo>
                <a:cubicBezTo>
                  <a:pt x="1667643" y="1625227"/>
                  <a:pt x="1668872" y="1625347"/>
                  <a:pt x="1751069" y="1626390"/>
                </a:cubicBezTo>
                <a:cubicBezTo>
                  <a:pt x="1805466" y="1627082"/>
                  <a:pt x="1840460" y="1626127"/>
                  <a:pt x="1852067" y="1623640"/>
                </a:cubicBezTo>
                <a:cubicBezTo>
                  <a:pt x="1874202" y="1618902"/>
                  <a:pt x="1894857" y="1602876"/>
                  <a:pt x="1900798" y="1585855"/>
                </a:cubicBezTo>
                <a:cubicBezTo>
                  <a:pt x="1903631" y="1577713"/>
                  <a:pt x="1905336" y="1534336"/>
                  <a:pt x="1905336" y="1469092"/>
                </a:cubicBezTo>
                <a:lnTo>
                  <a:pt x="1905361" y="1365285"/>
                </a:lnTo>
                <a:lnTo>
                  <a:pt x="1916215" y="1358494"/>
                </a:lnTo>
                <a:cubicBezTo>
                  <a:pt x="1930679" y="1349442"/>
                  <a:pt x="1944717" y="1349923"/>
                  <a:pt x="1957251" y="1359902"/>
                </a:cubicBezTo>
                <a:lnTo>
                  <a:pt x="1967554" y="1368105"/>
                </a:lnTo>
                <a:lnTo>
                  <a:pt x="1966325" y="1481972"/>
                </a:lnTo>
                <a:cubicBezTo>
                  <a:pt x="1965147" y="1592751"/>
                  <a:pt x="1964846" y="1596286"/>
                  <a:pt x="1955646" y="1612227"/>
                </a:cubicBezTo>
                <a:cubicBezTo>
                  <a:pt x="1943263" y="1633649"/>
                  <a:pt x="1913457" y="1657481"/>
                  <a:pt x="1887212" y="1666937"/>
                </a:cubicBezTo>
                <a:cubicBezTo>
                  <a:pt x="1867383" y="1674074"/>
                  <a:pt x="1860765" y="1674530"/>
                  <a:pt x="1767363" y="1675197"/>
                </a:cubicBezTo>
                <a:cubicBezTo>
                  <a:pt x="1694015" y="1675721"/>
                  <a:pt x="1664034" y="1674771"/>
                  <a:pt x="1651274" y="1671517"/>
                </a:cubicBezTo>
                <a:close/>
                <a:moveTo>
                  <a:pt x="222239" y="914364"/>
                </a:moveTo>
                <a:cubicBezTo>
                  <a:pt x="216674" y="909940"/>
                  <a:pt x="212112" y="902690"/>
                  <a:pt x="212112" y="898253"/>
                </a:cubicBezTo>
                <a:cubicBezTo>
                  <a:pt x="212112" y="892873"/>
                  <a:pt x="243396" y="856518"/>
                  <a:pt x="305990" y="789141"/>
                </a:cubicBezTo>
                <a:cubicBezTo>
                  <a:pt x="357605" y="733568"/>
                  <a:pt x="407565" y="679805"/>
                  <a:pt x="416965" y="669668"/>
                </a:cubicBezTo>
                <a:lnTo>
                  <a:pt x="434086" y="651238"/>
                </a:lnTo>
                <a:lnTo>
                  <a:pt x="316970" y="584465"/>
                </a:lnTo>
                <a:cubicBezTo>
                  <a:pt x="192383" y="513431"/>
                  <a:pt x="187746" y="509786"/>
                  <a:pt x="197798" y="490740"/>
                </a:cubicBezTo>
                <a:cubicBezTo>
                  <a:pt x="204215" y="478634"/>
                  <a:pt x="203564" y="478812"/>
                  <a:pt x="277037" y="468562"/>
                </a:cubicBezTo>
                <a:cubicBezTo>
                  <a:pt x="309099" y="464088"/>
                  <a:pt x="367406" y="454412"/>
                  <a:pt x="406587" y="447059"/>
                </a:cubicBezTo>
                <a:cubicBezTo>
                  <a:pt x="506532" y="428304"/>
                  <a:pt x="505980" y="428349"/>
                  <a:pt x="518740" y="438496"/>
                </a:cubicBezTo>
                <a:cubicBezTo>
                  <a:pt x="531800" y="448894"/>
                  <a:pt x="532277" y="460681"/>
                  <a:pt x="520069" y="471367"/>
                </a:cubicBezTo>
                <a:cubicBezTo>
                  <a:pt x="512649" y="477875"/>
                  <a:pt x="498585" y="481763"/>
                  <a:pt x="449002" y="491040"/>
                </a:cubicBezTo>
                <a:cubicBezTo>
                  <a:pt x="415010" y="497398"/>
                  <a:pt x="370515" y="505116"/>
                  <a:pt x="350135" y="508187"/>
                </a:cubicBezTo>
                <a:cubicBezTo>
                  <a:pt x="329730" y="511260"/>
                  <a:pt x="311806" y="514654"/>
                  <a:pt x="310302" y="515732"/>
                </a:cubicBezTo>
                <a:cubicBezTo>
                  <a:pt x="308773" y="516810"/>
                  <a:pt x="343843" y="538336"/>
                  <a:pt x="388238" y="563571"/>
                </a:cubicBezTo>
                <a:cubicBezTo>
                  <a:pt x="432632" y="588805"/>
                  <a:pt x="477930" y="615013"/>
                  <a:pt x="488859" y="621814"/>
                </a:cubicBezTo>
                <a:cubicBezTo>
                  <a:pt x="521673" y="642221"/>
                  <a:pt x="522826" y="640151"/>
                  <a:pt x="416013" y="754916"/>
                </a:cubicBezTo>
                <a:cubicBezTo>
                  <a:pt x="365050" y="809689"/>
                  <a:pt x="323362" y="855154"/>
                  <a:pt x="323362" y="855946"/>
                </a:cubicBezTo>
                <a:cubicBezTo>
                  <a:pt x="323362" y="860413"/>
                  <a:pt x="441557" y="830838"/>
                  <a:pt x="512874" y="808536"/>
                </a:cubicBezTo>
                <a:cubicBezTo>
                  <a:pt x="817873" y="713120"/>
                  <a:pt x="1137261" y="517046"/>
                  <a:pt x="1354648" y="291717"/>
                </a:cubicBezTo>
                <a:cubicBezTo>
                  <a:pt x="1403605" y="240965"/>
                  <a:pt x="1407967" y="237503"/>
                  <a:pt x="1423008" y="237503"/>
                </a:cubicBezTo>
                <a:cubicBezTo>
                  <a:pt x="1432483" y="237503"/>
                  <a:pt x="1441683" y="242173"/>
                  <a:pt x="1462113" y="257372"/>
                </a:cubicBezTo>
                <a:lnTo>
                  <a:pt x="1488810" y="277240"/>
                </a:lnTo>
                <a:lnTo>
                  <a:pt x="1492871" y="264744"/>
                </a:lnTo>
                <a:cubicBezTo>
                  <a:pt x="1504277" y="229506"/>
                  <a:pt x="1547519" y="59898"/>
                  <a:pt x="1545464" y="58279"/>
                </a:cubicBezTo>
                <a:cubicBezTo>
                  <a:pt x="1543383" y="56623"/>
                  <a:pt x="1290424" y="94266"/>
                  <a:pt x="1275309" y="98480"/>
                </a:cubicBezTo>
                <a:cubicBezTo>
                  <a:pt x="1271223" y="99618"/>
                  <a:pt x="1278542" y="107452"/>
                  <a:pt x="1298998" y="123834"/>
                </a:cubicBezTo>
                <a:cubicBezTo>
                  <a:pt x="1324893" y="144585"/>
                  <a:pt x="1328603" y="149034"/>
                  <a:pt x="1328603" y="159545"/>
                </a:cubicBezTo>
                <a:cubicBezTo>
                  <a:pt x="1328603" y="170289"/>
                  <a:pt x="1325770" y="173460"/>
                  <a:pt x="1301730" y="189684"/>
                </a:cubicBezTo>
                <a:cubicBezTo>
                  <a:pt x="1200457" y="258013"/>
                  <a:pt x="1034032" y="333121"/>
                  <a:pt x="863045" y="387641"/>
                </a:cubicBezTo>
                <a:cubicBezTo>
                  <a:pt x="781375" y="413681"/>
                  <a:pt x="645508" y="450511"/>
                  <a:pt x="631119" y="450511"/>
                </a:cubicBezTo>
                <a:cubicBezTo>
                  <a:pt x="617206" y="450511"/>
                  <a:pt x="603494" y="438962"/>
                  <a:pt x="603494" y="427231"/>
                </a:cubicBezTo>
                <a:cubicBezTo>
                  <a:pt x="603494" y="410270"/>
                  <a:pt x="609761" y="405685"/>
                  <a:pt x="645683" y="396355"/>
                </a:cubicBezTo>
                <a:cubicBezTo>
                  <a:pt x="885455" y="334081"/>
                  <a:pt x="1075394" y="262077"/>
                  <a:pt x="1211085" y="182018"/>
                </a:cubicBezTo>
                <a:lnTo>
                  <a:pt x="1251194" y="158344"/>
                </a:lnTo>
                <a:lnTo>
                  <a:pt x="1213968" y="128145"/>
                </a:lnTo>
                <a:cubicBezTo>
                  <a:pt x="1193488" y="111538"/>
                  <a:pt x="1175489" y="93945"/>
                  <a:pt x="1173935" y="89052"/>
                </a:cubicBezTo>
                <a:cubicBezTo>
                  <a:pt x="1170601" y="78489"/>
                  <a:pt x="1180277" y="64845"/>
                  <a:pt x="1193889" y="60909"/>
                </a:cubicBezTo>
                <a:cubicBezTo>
                  <a:pt x="1198852" y="59469"/>
                  <a:pt x="1291277" y="44518"/>
                  <a:pt x="1399243" y="27685"/>
                </a:cubicBezTo>
                <a:cubicBezTo>
                  <a:pt x="1588805" y="-1870"/>
                  <a:pt x="1595900" y="-2729"/>
                  <a:pt x="1606178" y="2637"/>
                </a:cubicBezTo>
                <a:cubicBezTo>
                  <a:pt x="1612043" y="5693"/>
                  <a:pt x="1617984" y="11767"/>
                  <a:pt x="1619363" y="16136"/>
                </a:cubicBezTo>
                <a:cubicBezTo>
                  <a:pt x="1621870" y="24089"/>
                  <a:pt x="1541578" y="331963"/>
                  <a:pt x="1534083" y="343113"/>
                </a:cubicBezTo>
                <a:cubicBezTo>
                  <a:pt x="1529295" y="350245"/>
                  <a:pt x="1517187" y="355477"/>
                  <a:pt x="1505505" y="355477"/>
                </a:cubicBezTo>
                <a:cubicBezTo>
                  <a:pt x="1499815" y="355477"/>
                  <a:pt x="1484123" y="345858"/>
                  <a:pt x="1462740" y="329261"/>
                </a:cubicBezTo>
                <a:cubicBezTo>
                  <a:pt x="1444165" y="314842"/>
                  <a:pt x="1427971" y="303045"/>
                  <a:pt x="1426768" y="303045"/>
                </a:cubicBezTo>
                <a:cubicBezTo>
                  <a:pt x="1425565" y="303045"/>
                  <a:pt x="1415588" y="312263"/>
                  <a:pt x="1404633" y="323525"/>
                </a:cubicBezTo>
                <a:cubicBezTo>
                  <a:pt x="1317698" y="412864"/>
                  <a:pt x="1183962" y="522225"/>
                  <a:pt x="1066996" y="599626"/>
                </a:cubicBezTo>
                <a:cubicBezTo>
                  <a:pt x="834443" y="753502"/>
                  <a:pt x="581986" y="858473"/>
                  <a:pt x="321607" y="909538"/>
                </a:cubicBezTo>
                <a:cubicBezTo>
                  <a:pt x="244274" y="924704"/>
                  <a:pt x="235750" y="925118"/>
                  <a:pt x="222239" y="914364"/>
                </a:cubicBezTo>
                <a:close/>
              </a:path>
            </a:pathLst>
          </a:custGeom>
          <a:solidFill>
            <a:srgbClr val="509AAF"/>
          </a:solidFill>
          <a:ln w="365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7952D7A-E58D-4E7C-8A6D-F74935E9CA6D}"/>
              </a:ext>
            </a:extLst>
          </p:cNvPr>
          <p:cNvSpPr/>
          <p:nvPr/>
        </p:nvSpPr>
        <p:spPr>
          <a:xfrm>
            <a:off x="5483211" y="3260451"/>
            <a:ext cx="457200" cy="457200"/>
          </a:xfrm>
          <a:custGeom>
            <a:avLst/>
            <a:gdLst>
              <a:gd name="connsiteX0" fmla="*/ 903558 w 1816431"/>
              <a:gd name="connsiteY0" fmla="*/ 1811542 h 1816473"/>
              <a:gd name="connsiteX1" fmla="*/ 854978 w 1816431"/>
              <a:gd name="connsiteY1" fmla="*/ 1779430 h 1816473"/>
              <a:gd name="connsiteX2" fmla="*/ 846956 w 1816431"/>
              <a:gd name="connsiteY2" fmla="*/ 1770882 h 1816473"/>
              <a:gd name="connsiteX3" fmla="*/ 832466 w 1816431"/>
              <a:gd name="connsiteY3" fmla="*/ 1778252 h 1816473"/>
              <a:gd name="connsiteX4" fmla="*/ 795893 w 1816431"/>
              <a:gd name="connsiteY4" fmla="*/ 1785847 h 1816473"/>
              <a:gd name="connsiteX5" fmla="*/ 707780 w 1816431"/>
              <a:gd name="connsiteY5" fmla="*/ 1718490 h 1816473"/>
              <a:gd name="connsiteX6" fmla="*/ 693190 w 1816431"/>
              <a:gd name="connsiteY6" fmla="*/ 1698386 h 1816473"/>
              <a:gd name="connsiteX7" fmla="*/ 636763 w 1816431"/>
              <a:gd name="connsiteY7" fmla="*/ 1665547 h 1816473"/>
              <a:gd name="connsiteX8" fmla="*/ 617285 w 1816431"/>
              <a:gd name="connsiteY8" fmla="*/ 1620726 h 1816473"/>
              <a:gd name="connsiteX9" fmla="*/ 599838 w 1816431"/>
              <a:gd name="connsiteY9" fmla="*/ 1608443 h 1816473"/>
              <a:gd name="connsiteX10" fmla="*/ 531278 w 1816431"/>
              <a:gd name="connsiteY10" fmla="*/ 1540635 h 1816473"/>
              <a:gd name="connsiteX11" fmla="*/ 519120 w 1816431"/>
              <a:gd name="connsiteY11" fmla="*/ 1522210 h 1816473"/>
              <a:gd name="connsiteX12" fmla="*/ 456075 w 1816431"/>
              <a:gd name="connsiteY12" fmla="*/ 1482879 h 1816473"/>
              <a:gd name="connsiteX13" fmla="*/ 442739 w 1816431"/>
              <a:gd name="connsiteY13" fmla="*/ 1451143 h 1816473"/>
              <a:gd name="connsiteX14" fmla="*/ 438653 w 1816431"/>
              <a:gd name="connsiteY14" fmla="*/ 1433345 h 1816473"/>
              <a:gd name="connsiteX15" fmla="*/ 397592 w 1816431"/>
              <a:gd name="connsiteY15" fmla="*/ 1409480 h 1816473"/>
              <a:gd name="connsiteX16" fmla="*/ 353147 w 1816431"/>
              <a:gd name="connsiteY16" fmla="*/ 1385641 h 1816473"/>
              <a:gd name="connsiteX17" fmla="*/ 347682 w 1816431"/>
              <a:gd name="connsiteY17" fmla="*/ 1394490 h 1816473"/>
              <a:gd name="connsiteX18" fmla="*/ 315570 w 1816431"/>
              <a:gd name="connsiteY18" fmla="*/ 1404317 h 1816473"/>
              <a:gd name="connsiteX19" fmla="*/ 285589 w 1816431"/>
              <a:gd name="connsiteY19" fmla="*/ 1405294 h 1816473"/>
              <a:gd name="connsiteX20" fmla="*/ 143681 w 1816431"/>
              <a:gd name="connsiteY20" fmla="*/ 1357916 h 1816473"/>
              <a:gd name="connsiteX21" fmla="*/ 1773 w 1816431"/>
              <a:gd name="connsiteY21" fmla="*/ 1310538 h 1816473"/>
              <a:gd name="connsiteX22" fmla="*/ 870 w 1816431"/>
              <a:gd name="connsiteY22" fmla="*/ 1006617 h 1816473"/>
              <a:gd name="connsiteX23" fmla="*/ -57 w 1816431"/>
              <a:gd name="connsiteY23" fmla="*/ 702721 h 1816473"/>
              <a:gd name="connsiteX24" fmla="*/ 47045 w 1816431"/>
              <a:gd name="connsiteY24" fmla="*/ 702721 h 1816473"/>
              <a:gd name="connsiteX25" fmla="*/ 94172 w 1816431"/>
              <a:gd name="connsiteY25" fmla="*/ 702721 h 1816473"/>
              <a:gd name="connsiteX26" fmla="*/ 167771 w 1816431"/>
              <a:gd name="connsiteY26" fmla="*/ 745612 h 1816473"/>
              <a:gd name="connsiteX27" fmla="*/ 241370 w 1816431"/>
              <a:gd name="connsiteY27" fmla="*/ 788528 h 1816473"/>
              <a:gd name="connsiteX28" fmla="*/ 282105 w 1816431"/>
              <a:gd name="connsiteY28" fmla="*/ 778576 h 1816473"/>
              <a:gd name="connsiteX29" fmla="*/ 322815 w 1816431"/>
              <a:gd name="connsiteY29" fmla="*/ 762683 h 1816473"/>
              <a:gd name="connsiteX30" fmla="*/ 296795 w 1816431"/>
              <a:gd name="connsiteY30" fmla="*/ 730597 h 1816473"/>
              <a:gd name="connsiteX31" fmla="*/ 239089 w 1816431"/>
              <a:gd name="connsiteY31" fmla="*/ 624663 h 1816473"/>
              <a:gd name="connsiteX32" fmla="*/ 244253 w 1816431"/>
              <a:gd name="connsiteY32" fmla="*/ 464764 h 1816473"/>
              <a:gd name="connsiteX33" fmla="*/ 423036 w 1816431"/>
              <a:gd name="connsiteY33" fmla="*/ 324151 h 1816473"/>
              <a:gd name="connsiteX34" fmla="*/ 447000 w 1816431"/>
              <a:gd name="connsiteY34" fmla="*/ 319612 h 1816473"/>
              <a:gd name="connsiteX35" fmla="*/ 432461 w 1816431"/>
              <a:gd name="connsiteY35" fmla="*/ 282346 h 1816473"/>
              <a:gd name="connsiteX36" fmla="*/ 417922 w 1816431"/>
              <a:gd name="connsiteY36" fmla="*/ 247554 h 1816473"/>
              <a:gd name="connsiteX37" fmla="*/ 495431 w 1816431"/>
              <a:gd name="connsiteY37" fmla="*/ 170105 h 1816473"/>
              <a:gd name="connsiteX38" fmla="*/ 572940 w 1816431"/>
              <a:gd name="connsiteY38" fmla="*/ 92653 h 1816473"/>
              <a:gd name="connsiteX39" fmla="*/ 618388 w 1816431"/>
              <a:gd name="connsiteY39" fmla="*/ 122675 h 1816473"/>
              <a:gd name="connsiteX40" fmla="*/ 663836 w 1816431"/>
              <a:gd name="connsiteY40" fmla="*/ 152693 h 1816473"/>
              <a:gd name="connsiteX41" fmla="*/ 687575 w 1816431"/>
              <a:gd name="connsiteY41" fmla="*/ 140761 h 1816473"/>
              <a:gd name="connsiteX42" fmla="*/ 739666 w 1816431"/>
              <a:gd name="connsiteY42" fmla="*/ 119002 h 1816473"/>
              <a:gd name="connsiteX43" fmla="*/ 772028 w 1816431"/>
              <a:gd name="connsiteY43" fmla="*/ 105280 h 1816473"/>
              <a:gd name="connsiteX44" fmla="*/ 786166 w 1816431"/>
              <a:gd name="connsiteY44" fmla="*/ 50833 h 1816473"/>
              <a:gd name="connsiteX45" fmla="*/ 796344 w 1816431"/>
              <a:gd name="connsiteY45" fmla="*/ 279 h 1816473"/>
              <a:gd name="connsiteX46" fmla="*/ 908196 w 1816431"/>
              <a:gd name="connsiteY46" fmla="*/ 279 h 1816473"/>
              <a:gd name="connsiteX47" fmla="*/ 1020023 w 1816431"/>
              <a:gd name="connsiteY47" fmla="*/ 279 h 1816473"/>
              <a:gd name="connsiteX48" fmla="*/ 1030201 w 1816431"/>
              <a:gd name="connsiteY48" fmla="*/ 50833 h 1816473"/>
              <a:gd name="connsiteX49" fmla="*/ 1044339 w 1816431"/>
              <a:gd name="connsiteY49" fmla="*/ 105280 h 1816473"/>
              <a:gd name="connsiteX50" fmla="*/ 1076701 w 1816431"/>
              <a:gd name="connsiteY50" fmla="*/ 119002 h 1816473"/>
              <a:gd name="connsiteX51" fmla="*/ 1128792 w 1816431"/>
              <a:gd name="connsiteY51" fmla="*/ 140761 h 1816473"/>
              <a:gd name="connsiteX52" fmla="*/ 1152531 w 1816431"/>
              <a:gd name="connsiteY52" fmla="*/ 152693 h 1816473"/>
              <a:gd name="connsiteX53" fmla="*/ 1197979 w 1816431"/>
              <a:gd name="connsiteY53" fmla="*/ 122675 h 1816473"/>
              <a:gd name="connsiteX54" fmla="*/ 1243426 w 1816431"/>
              <a:gd name="connsiteY54" fmla="*/ 92653 h 1816473"/>
              <a:gd name="connsiteX55" fmla="*/ 1320986 w 1816431"/>
              <a:gd name="connsiteY55" fmla="*/ 170158 h 1816473"/>
              <a:gd name="connsiteX56" fmla="*/ 1398546 w 1816431"/>
              <a:gd name="connsiteY56" fmla="*/ 247660 h 1816473"/>
              <a:gd name="connsiteX57" fmla="*/ 1382578 w 1816431"/>
              <a:gd name="connsiteY57" fmla="*/ 285387 h 1816473"/>
              <a:gd name="connsiteX58" fmla="*/ 1366584 w 1816431"/>
              <a:gd name="connsiteY58" fmla="*/ 323113 h 1816473"/>
              <a:gd name="connsiteX59" fmla="*/ 1383054 w 1816431"/>
              <a:gd name="connsiteY59" fmla="*/ 323166 h 1816473"/>
              <a:gd name="connsiteX60" fmla="*/ 1557300 w 1816431"/>
              <a:gd name="connsiteY60" fmla="*/ 437525 h 1816473"/>
              <a:gd name="connsiteX61" fmla="*/ 1582116 w 1816431"/>
              <a:gd name="connsiteY61" fmla="*/ 559033 h 1816473"/>
              <a:gd name="connsiteX62" fmla="*/ 1519573 w 1816431"/>
              <a:gd name="connsiteY62" fmla="*/ 730597 h 1816473"/>
              <a:gd name="connsiteX63" fmla="*/ 1493552 w 1816431"/>
              <a:gd name="connsiteY63" fmla="*/ 762633 h 1816473"/>
              <a:gd name="connsiteX64" fmla="*/ 1556522 w 1816431"/>
              <a:gd name="connsiteY64" fmla="*/ 783966 h 1816473"/>
              <a:gd name="connsiteX65" fmla="*/ 1636213 w 1816431"/>
              <a:gd name="connsiteY65" fmla="*/ 806427 h 1816473"/>
              <a:gd name="connsiteX66" fmla="*/ 1652933 w 1816431"/>
              <a:gd name="connsiteY66" fmla="*/ 813446 h 1816473"/>
              <a:gd name="connsiteX67" fmla="*/ 1700862 w 1816431"/>
              <a:gd name="connsiteY67" fmla="*/ 788227 h 1816473"/>
              <a:gd name="connsiteX68" fmla="*/ 1748767 w 1816431"/>
              <a:gd name="connsiteY68" fmla="*/ 763009 h 1816473"/>
              <a:gd name="connsiteX69" fmla="*/ 1782583 w 1816431"/>
              <a:gd name="connsiteY69" fmla="*/ 763009 h 1816473"/>
              <a:gd name="connsiteX70" fmla="*/ 1816374 w 1816431"/>
              <a:gd name="connsiteY70" fmla="*/ 763009 h 1816473"/>
              <a:gd name="connsiteX71" fmla="*/ 1816374 w 1816431"/>
              <a:gd name="connsiteY71" fmla="*/ 976787 h 1816473"/>
              <a:gd name="connsiteX72" fmla="*/ 1816374 w 1816431"/>
              <a:gd name="connsiteY72" fmla="*/ 1190539 h 1816473"/>
              <a:gd name="connsiteX73" fmla="*/ 1552085 w 1816431"/>
              <a:gd name="connsiteY73" fmla="*/ 1322671 h 1816473"/>
              <a:gd name="connsiteX74" fmla="*/ 1287772 w 1816431"/>
              <a:gd name="connsiteY74" fmla="*/ 1454803 h 1816473"/>
              <a:gd name="connsiteX75" fmla="*/ 1287772 w 1816431"/>
              <a:gd name="connsiteY75" fmla="*/ 1466334 h 1816473"/>
              <a:gd name="connsiteX76" fmla="*/ 1266038 w 1816431"/>
              <a:gd name="connsiteY76" fmla="*/ 1520104 h 1816473"/>
              <a:gd name="connsiteX77" fmla="*/ 1215752 w 1816431"/>
              <a:gd name="connsiteY77" fmla="*/ 1550035 h 1816473"/>
              <a:gd name="connsiteX78" fmla="*/ 1198531 w 1816431"/>
              <a:gd name="connsiteY78" fmla="*/ 1567257 h 1816473"/>
              <a:gd name="connsiteX79" fmla="*/ 1190559 w 1816431"/>
              <a:gd name="connsiteY79" fmla="*/ 1592525 h 1816473"/>
              <a:gd name="connsiteX80" fmla="*/ 1123778 w 1816431"/>
              <a:gd name="connsiteY80" fmla="*/ 1639201 h 1816473"/>
              <a:gd name="connsiteX81" fmla="*/ 1111997 w 1816431"/>
              <a:gd name="connsiteY81" fmla="*/ 1649053 h 1816473"/>
              <a:gd name="connsiteX82" fmla="*/ 1085224 w 1816431"/>
              <a:gd name="connsiteY82" fmla="*/ 1702648 h 1816473"/>
              <a:gd name="connsiteX83" fmla="*/ 1032331 w 1816431"/>
              <a:gd name="connsiteY83" fmla="*/ 1727966 h 1816473"/>
              <a:gd name="connsiteX84" fmla="*/ 1022380 w 1816431"/>
              <a:gd name="connsiteY84" fmla="*/ 1745689 h 1816473"/>
              <a:gd name="connsiteX85" fmla="*/ 903558 w 1816431"/>
              <a:gd name="connsiteY85" fmla="*/ 1811542 h 1816473"/>
              <a:gd name="connsiteX86" fmla="*/ 956978 w 1816431"/>
              <a:gd name="connsiteY86" fmla="*/ 1748170 h 1816473"/>
              <a:gd name="connsiteX87" fmla="*/ 964949 w 1816431"/>
              <a:gd name="connsiteY87" fmla="*/ 1727490 h 1816473"/>
              <a:gd name="connsiteX88" fmla="*/ 948104 w 1816431"/>
              <a:gd name="connsiteY88" fmla="*/ 1697759 h 1816473"/>
              <a:gd name="connsiteX89" fmla="*/ 931259 w 1816431"/>
              <a:gd name="connsiteY89" fmla="*/ 1681491 h 1816473"/>
              <a:gd name="connsiteX90" fmla="*/ 924139 w 1816431"/>
              <a:gd name="connsiteY90" fmla="*/ 1691242 h 1816473"/>
              <a:gd name="connsiteX91" fmla="*/ 902932 w 1816431"/>
              <a:gd name="connsiteY91" fmla="*/ 1716661 h 1816473"/>
              <a:gd name="connsiteX92" fmla="*/ 888819 w 1816431"/>
              <a:gd name="connsiteY92" fmla="*/ 1732303 h 1816473"/>
              <a:gd name="connsiteX93" fmla="*/ 899397 w 1816431"/>
              <a:gd name="connsiteY93" fmla="*/ 1741076 h 1816473"/>
              <a:gd name="connsiteX94" fmla="*/ 956978 w 1816431"/>
              <a:gd name="connsiteY94" fmla="*/ 1748170 h 1816473"/>
              <a:gd name="connsiteX95" fmla="*/ 838783 w 1816431"/>
              <a:gd name="connsiteY95" fmla="*/ 1699414 h 1816473"/>
              <a:gd name="connsiteX96" fmla="*/ 869642 w 1816431"/>
              <a:gd name="connsiteY96" fmla="*/ 1623809 h 1816473"/>
              <a:gd name="connsiteX97" fmla="*/ 793235 w 1816431"/>
              <a:gd name="connsiteY97" fmla="*/ 1649955 h 1816473"/>
              <a:gd name="connsiteX98" fmla="*/ 762728 w 1816431"/>
              <a:gd name="connsiteY98" fmla="*/ 1695453 h 1816473"/>
              <a:gd name="connsiteX99" fmla="*/ 795241 w 1816431"/>
              <a:gd name="connsiteY99" fmla="*/ 1727966 h 1816473"/>
              <a:gd name="connsiteX100" fmla="*/ 838783 w 1816431"/>
              <a:gd name="connsiteY100" fmla="*/ 1699414 h 1816473"/>
              <a:gd name="connsiteX101" fmla="*/ 1045667 w 1816431"/>
              <a:gd name="connsiteY101" fmla="*/ 1659681 h 1816473"/>
              <a:gd name="connsiteX102" fmla="*/ 1048701 w 1816431"/>
              <a:gd name="connsiteY102" fmla="*/ 1623158 h 1816473"/>
              <a:gd name="connsiteX103" fmla="*/ 967105 w 1816431"/>
              <a:gd name="connsiteY103" fmla="*/ 1552392 h 1816473"/>
              <a:gd name="connsiteX104" fmla="*/ 890524 w 1816431"/>
              <a:gd name="connsiteY104" fmla="*/ 1486814 h 1816473"/>
              <a:gd name="connsiteX105" fmla="*/ 909249 w 1816431"/>
              <a:gd name="connsiteY105" fmla="*/ 1464153 h 1816473"/>
              <a:gd name="connsiteX106" fmla="*/ 927874 w 1816431"/>
              <a:gd name="connsiteY106" fmla="*/ 1443322 h 1816473"/>
              <a:gd name="connsiteX107" fmla="*/ 1004055 w 1816431"/>
              <a:gd name="connsiteY107" fmla="*/ 1506869 h 1816473"/>
              <a:gd name="connsiteX108" fmla="*/ 1109690 w 1816431"/>
              <a:gd name="connsiteY108" fmla="*/ 1582523 h 1816473"/>
              <a:gd name="connsiteX109" fmla="*/ 1142303 w 1816431"/>
              <a:gd name="connsiteY109" fmla="*/ 1553520 h 1816473"/>
              <a:gd name="connsiteX110" fmla="*/ 1054516 w 1816431"/>
              <a:gd name="connsiteY110" fmla="*/ 1463552 h 1816473"/>
              <a:gd name="connsiteX111" fmla="*/ 979238 w 1816431"/>
              <a:gd name="connsiteY111" fmla="*/ 1398626 h 1816473"/>
              <a:gd name="connsiteX112" fmla="*/ 997863 w 1816431"/>
              <a:gd name="connsiteY112" fmla="*/ 1376015 h 1816473"/>
              <a:gd name="connsiteX113" fmla="*/ 1016388 w 1816431"/>
              <a:gd name="connsiteY113" fmla="*/ 1355736 h 1816473"/>
              <a:gd name="connsiteX114" fmla="*/ 1098962 w 1816431"/>
              <a:gd name="connsiteY114" fmla="*/ 1424797 h 1816473"/>
              <a:gd name="connsiteX115" fmla="*/ 1195447 w 1816431"/>
              <a:gd name="connsiteY115" fmla="*/ 1493833 h 1816473"/>
              <a:gd name="connsiteX116" fmla="*/ 1223297 w 1816431"/>
              <a:gd name="connsiteY116" fmla="*/ 1445227 h 1816473"/>
              <a:gd name="connsiteX117" fmla="*/ 958708 w 1816431"/>
              <a:gd name="connsiteY117" fmla="*/ 1208738 h 1816473"/>
              <a:gd name="connsiteX118" fmla="*/ 927849 w 1816431"/>
              <a:gd name="connsiteY118" fmla="*/ 1203650 h 1816473"/>
              <a:gd name="connsiteX119" fmla="*/ 852245 w 1816431"/>
              <a:gd name="connsiteY119" fmla="*/ 1239672 h 1816473"/>
              <a:gd name="connsiteX120" fmla="*/ 738312 w 1816431"/>
              <a:gd name="connsiteY120" fmla="*/ 1287376 h 1816473"/>
              <a:gd name="connsiteX121" fmla="*/ 654411 w 1816431"/>
              <a:gd name="connsiteY121" fmla="*/ 1232954 h 1816473"/>
              <a:gd name="connsiteX122" fmla="*/ 653759 w 1816431"/>
              <a:gd name="connsiteY122" fmla="*/ 1143562 h 1816473"/>
              <a:gd name="connsiteX123" fmla="*/ 763756 w 1816431"/>
              <a:gd name="connsiteY123" fmla="*/ 1065827 h 1816473"/>
              <a:gd name="connsiteX124" fmla="*/ 843822 w 1816431"/>
              <a:gd name="connsiteY124" fmla="*/ 1023939 h 1816473"/>
              <a:gd name="connsiteX125" fmla="*/ 801759 w 1816431"/>
              <a:gd name="connsiteY125" fmla="*/ 1010879 h 1816473"/>
              <a:gd name="connsiteX126" fmla="*/ 709509 w 1816431"/>
              <a:gd name="connsiteY126" fmla="*/ 999172 h 1816473"/>
              <a:gd name="connsiteX127" fmla="*/ 553764 w 1816431"/>
              <a:gd name="connsiteY127" fmla="*/ 1023062 h 1816473"/>
              <a:gd name="connsiteX128" fmla="*/ 447777 w 1816431"/>
              <a:gd name="connsiteY128" fmla="*/ 1048405 h 1816473"/>
              <a:gd name="connsiteX129" fmla="*/ 369140 w 1816431"/>
              <a:gd name="connsiteY129" fmla="*/ 1321769 h 1816473"/>
              <a:gd name="connsiteX130" fmla="*/ 412783 w 1816431"/>
              <a:gd name="connsiteY130" fmla="*/ 1351098 h 1816473"/>
              <a:gd name="connsiteX131" fmla="*/ 456476 w 1816431"/>
              <a:gd name="connsiteY131" fmla="*/ 1376867 h 1816473"/>
              <a:gd name="connsiteX132" fmla="*/ 491972 w 1816431"/>
              <a:gd name="connsiteY132" fmla="*/ 1341397 h 1816473"/>
              <a:gd name="connsiteX133" fmla="*/ 582366 w 1816431"/>
              <a:gd name="connsiteY133" fmla="*/ 1290910 h 1816473"/>
              <a:gd name="connsiteX134" fmla="*/ 671983 w 1816431"/>
              <a:gd name="connsiteY134" fmla="*/ 1366765 h 1816473"/>
              <a:gd name="connsiteX135" fmla="*/ 692890 w 1816431"/>
              <a:gd name="connsiteY135" fmla="*/ 1381731 h 1816473"/>
              <a:gd name="connsiteX136" fmla="*/ 726129 w 1816431"/>
              <a:gd name="connsiteY136" fmla="*/ 1397624 h 1816473"/>
              <a:gd name="connsiteX137" fmla="*/ 759194 w 1816431"/>
              <a:gd name="connsiteY137" fmla="*/ 1454903 h 1816473"/>
              <a:gd name="connsiteX138" fmla="*/ 776891 w 1816431"/>
              <a:gd name="connsiteY138" fmla="*/ 1468314 h 1816473"/>
              <a:gd name="connsiteX139" fmla="*/ 847883 w 1816431"/>
              <a:gd name="connsiteY139" fmla="*/ 1545498 h 1816473"/>
              <a:gd name="connsiteX140" fmla="*/ 855855 w 1816431"/>
              <a:gd name="connsiteY140" fmla="*/ 1554171 h 1816473"/>
              <a:gd name="connsiteX141" fmla="*/ 922384 w 1816431"/>
              <a:gd name="connsiteY141" fmla="*/ 1596736 h 1816473"/>
              <a:gd name="connsiteX142" fmla="*/ 995106 w 1816431"/>
              <a:gd name="connsiteY142" fmla="*/ 1659456 h 1816473"/>
              <a:gd name="connsiteX143" fmla="*/ 1045667 w 1816431"/>
              <a:gd name="connsiteY143" fmla="*/ 1659681 h 1816473"/>
              <a:gd name="connsiteX144" fmla="*/ 752275 w 1816431"/>
              <a:gd name="connsiteY144" fmla="*/ 1608769 h 1816473"/>
              <a:gd name="connsiteX145" fmla="*/ 787696 w 1816431"/>
              <a:gd name="connsiteY145" fmla="*/ 1568034 h 1816473"/>
              <a:gd name="connsiteX146" fmla="*/ 746183 w 1816431"/>
              <a:gd name="connsiteY146" fmla="*/ 1527650 h 1816473"/>
              <a:gd name="connsiteX147" fmla="*/ 705098 w 1816431"/>
              <a:gd name="connsiteY147" fmla="*/ 1563898 h 1816473"/>
              <a:gd name="connsiteX148" fmla="*/ 678175 w 1816431"/>
              <a:gd name="connsiteY148" fmla="*/ 1622657 h 1816473"/>
              <a:gd name="connsiteX149" fmla="*/ 707329 w 1816431"/>
              <a:gd name="connsiteY149" fmla="*/ 1639176 h 1816473"/>
              <a:gd name="connsiteX150" fmla="*/ 752275 w 1816431"/>
              <a:gd name="connsiteY150" fmla="*/ 1608769 h 1816473"/>
              <a:gd name="connsiteX151" fmla="*/ 667847 w 1816431"/>
              <a:gd name="connsiteY151" fmla="*/ 1515517 h 1816473"/>
              <a:gd name="connsiteX152" fmla="*/ 702415 w 1816431"/>
              <a:gd name="connsiteY152" fmla="*/ 1468264 h 1816473"/>
              <a:gd name="connsiteX153" fmla="*/ 669928 w 1816431"/>
              <a:gd name="connsiteY153" fmla="*/ 1437080 h 1816473"/>
              <a:gd name="connsiteX154" fmla="*/ 625758 w 1816431"/>
              <a:gd name="connsiteY154" fmla="*/ 1466259 h 1816473"/>
              <a:gd name="connsiteX155" fmla="*/ 590137 w 1816431"/>
              <a:gd name="connsiteY155" fmla="*/ 1505540 h 1816473"/>
              <a:gd name="connsiteX156" fmla="*/ 597056 w 1816431"/>
              <a:gd name="connsiteY156" fmla="*/ 1542615 h 1816473"/>
              <a:gd name="connsiteX157" fmla="*/ 667847 w 1816431"/>
              <a:gd name="connsiteY157" fmla="*/ 1515517 h 1816473"/>
              <a:gd name="connsiteX158" fmla="*/ 545617 w 1816431"/>
              <a:gd name="connsiteY158" fmla="*/ 1460468 h 1816473"/>
              <a:gd name="connsiteX159" fmla="*/ 584472 w 1816431"/>
              <a:gd name="connsiteY159" fmla="*/ 1425424 h 1816473"/>
              <a:gd name="connsiteX160" fmla="*/ 613726 w 1816431"/>
              <a:gd name="connsiteY160" fmla="*/ 1381405 h 1816473"/>
              <a:gd name="connsiteX161" fmla="*/ 573818 w 1816431"/>
              <a:gd name="connsiteY161" fmla="*/ 1349644 h 1816473"/>
              <a:gd name="connsiteX162" fmla="*/ 532807 w 1816431"/>
              <a:gd name="connsiteY162" fmla="*/ 1384914 h 1816473"/>
              <a:gd name="connsiteX163" fmla="*/ 499442 w 1816431"/>
              <a:gd name="connsiteY163" fmla="*/ 1429485 h 1816473"/>
              <a:gd name="connsiteX164" fmla="*/ 545617 w 1816431"/>
              <a:gd name="connsiteY164" fmla="*/ 1460468 h 1816473"/>
              <a:gd name="connsiteX165" fmla="*/ 1759621 w 1816431"/>
              <a:gd name="connsiteY165" fmla="*/ 990073 h 1816473"/>
              <a:gd name="connsiteX166" fmla="*/ 1756212 w 1816431"/>
              <a:gd name="connsiteY166" fmla="*/ 826882 h 1816473"/>
              <a:gd name="connsiteX167" fmla="*/ 1478988 w 1816431"/>
              <a:gd name="connsiteY167" fmla="*/ 971021 h 1816473"/>
              <a:gd name="connsiteX168" fmla="*/ 1205174 w 1816431"/>
              <a:gd name="connsiteY168" fmla="*/ 1115186 h 1816473"/>
              <a:gd name="connsiteX169" fmla="*/ 1181735 w 1816431"/>
              <a:gd name="connsiteY169" fmla="*/ 1113080 h 1816473"/>
              <a:gd name="connsiteX170" fmla="*/ 1066048 w 1816431"/>
              <a:gd name="connsiteY170" fmla="*/ 1084578 h 1816473"/>
              <a:gd name="connsiteX171" fmla="*/ 923638 w 1816431"/>
              <a:gd name="connsiteY171" fmla="*/ 1057154 h 1816473"/>
              <a:gd name="connsiteX172" fmla="*/ 710512 w 1816431"/>
              <a:gd name="connsiteY172" fmla="*/ 1162814 h 1816473"/>
              <a:gd name="connsiteX173" fmla="*/ 709159 w 1816431"/>
              <a:gd name="connsiteY173" fmla="*/ 1211095 h 1816473"/>
              <a:gd name="connsiteX174" fmla="*/ 748214 w 1816431"/>
              <a:gd name="connsiteY174" fmla="*/ 1230121 h 1816473"/>
              <a:gd name="connsiteX175" fmla="*/ 820058 w 1816431"/>
              <a:gd name="connsiteY175" fmla="*/ 1190990 h 1816473"/>
              <a:gd name="connsiteX176" fmla="*/ 943366 w 1816431"/>
              <a:gd name="connsiteY176" fmla="*/ 1144013 h 1816473"/>
              <a:gd name="connsiteX177" fmla="*/ 1135134 w 1816431"/>
              <a:gd name="connsiteY177" fmla="*/ 1284117 h 1816473"/>
              <a:gd name="connsiteX178" fmla="*/ 1264509 w 1816431"/>
              <a:gd name="connsiteY178" fmla="*/ 1400832 h 1816473"/>
              <a:gd name="connsiteX179" fmla="*/ 1512052 w 1816431"/>
              <a:gd name="connsiteY179" fmla="*/ 1277048 h 1816473"/>
              <a:gd name="connsiteX180" fmla="*/ 1759621 w 1816431"/>
              <a:gd name="connsiteY180" fmla="*/ 1153238 h 1816473"/>
              <a:gd name="connsiteX181" fmla="*/ 355954 w 1816431"/>
              <a:gd name="connsiteY181" fmla="*/ 1152712 h 1816473"/>
              <a:gd name="connsiteX182" fmla="*/ 409023 w 1816431"/>
              <a:gd name="connsiteY182" fmla="*/ 954502 h 1816473"/>
              <a:gd name="connsiteX183" fmla="*/ 375056 w 1816431"/>
              <a:gd name="connsiteY183" fmla="*/ 933771 h 1816473"/>
              <a:gd name="connsiteX184" fmla="*/ 342342 w 1816431"/>
              <a:gd name="connsiteY184" fmla="*/ 920008 h 1816473"/>
              <a:gd name="connsiteX185" fmla="*/ 241245 w 1816431"/>
              <a:gd name="connsiteY185" fmla="*/ 1326331 h 1816473"/>
              <a:gd name="connsiteX186" fmla="*/ 298148 w 1816431"/>
              <a:gd name="connsiteY186" fmla="*/ 1348065 h 1816473"/>
              <a:gd name="connsiteX187" fmla="*/ 355954 w 1816431"/>
              <a:gd name="connsiteY187" fmla="*/ 1152712 h 1816473"/>
              <a:gd name="connsiteX188" fmla="*/ 187725 w 1816431"/>
              <a:gd name="connsiteY188" fmla="*/ 1296049 h 1816473"/>
              <a:gd name="connsiteX189" fmla="*/ 239440 w 1816431"/>
              <a:gd name="connsiteY189" fmla="*/ 1089391 h 1816473"/>
              <a:gd name="connsiteX190" fmla="*/ 289324 w 1816431"/>
              <a:gd name="connsiteY190" fmla="*/ 890428 h 1816473"/>
              <a:gd name="connsiteX191" fmla="*/ 69355 w 1816431"/>
              <a:gd name="connsiteY191" fmla="*/ 763009 h 1816473"/>
              <a:gd name="connsiteX192" fmla="*/ 56696 w 1816431"/>
              <a:gd name="connsiteY192" fmla="*/ 763009 h 1816473"/>
              <a:gd name="connsiteX193" fmla="*/ 57624 w 1816431"/>
              <a:gd name="connsiteY193" fmla="*/ 1015491 h 1816473"/>
              <a:gd name="connsiteX194" fmla="*/ 58526 w 1816431"/>
              <a:gd name="connsiteY194" fmla="*/ 1267973 h 1816473"/>
              <a:gd name="connsiteX195" fmla="*/ 118839 w 1816431"/>
              <a:gd name="connsiteY195" fmla="*/ 1288378 h 1816473"/>
              <a:gd name="connsiteX196" fmla="*/ 181684 w 1816431"/>
              <a:gd name="connsiteY196" fmla="*/ 1309084 h 1816473"/>
              <a:gd name="connsiteX197" fmla="*/ 187700 w 1816431"/>
              <a:gd name="connsiteY197" fmla="*/ 1296049 h 1816473"/>
              <a:gd name="connsiteX198" fmla="*/ 1201839 w 1816431"/>
              <a:gd name="connsiteY198" fmla="*/ 999373 h 1816473"/>
              <a:gd name="connsiteX199" fmla="*/ 1186598 w 1816431"/>
              <a:gd name="connsiteY199" fmla="*/ 893512 h 1816473"/>
              <a:gd name="connsiteX200" fmla="*/ 1059003 w 1816431"/>
              <a:gd name="connsiteY200" fmla="*/ 837109 h 1816473"/>
              <a:gd name="connsiteX201" fmla="*/ 968509 w 1816431"/>
              <a:gd name="connsiteY201" fmla="*/ 814599 h 1816473"/>
              <a:gd name="connsiteX202" fmla="*/ 968509 w 1816431"/>
              <a:gd name="connsiteY202" fmla="*/ 767897 h 1816473"/>
              <a:gd name="connsiteX203" fmla="*/ 968509 w 1816431"/>
              <a:gd name="connsiteY203" fmla="*/ 721196 h 1816473"/>
              <a:gd name="connsiteX204" fmla="*/ 986056 w 1816431"/>
              <a:gd name="connsiteY204" fmla="*/ 709916 h 1816473"/>
              <a:gd name="connsiteX205" fmla="*/ 1040729 w 1816431"/>
              <a:gd name="connsiteY205" fmla="*/ 646387 h 1816473"/>
              <a:gd name="connsiteX206" fmla="*/ 1053088 w 1816431"/>
              <a:gd name="connsiteY206" fmla="*/ 568311 h 1816473"/>
              <a:gd name="connsiteX207" fmla="*/ 1034964 w 1816431"/>
              <a:gd name="connsiteY207" fmla="*/ 460680 h 1816473"/>
              <a:gd name="connsiteX208" fmla="*/ 926571 w 1816431"/>
              <a:gd name="connsiteY208" fmla="*/ 382441 h 1816473"/>
              <a:gd name="connsiteX209" fmla="*/ 785840 w 1816431"/>
              <a:gd name="connsiteY209" fmla="*/ 448863 h 1816473"/>
              <a:gd name="connsiteX210" fmla="*/ 763330 w 1816431"/>
              <a:gd name="connsiteY210" fmla="*/ 563508 h 1816473"/>
              <a:gd name="connsiteX211" fmla="*/ 775638 w 1816431"/>
              <a:gd name="connsiteY211" fmla="*/ 646387 h 1816473"/>
              <a:gd name="connsiteX212" fmla="*/ 830336 w 1816431"/>
              <a:gd name="connsiteY212" fmla="*/ 709916 h 1816473"/>
              <a:gd name="connsiteX213" fmla="*/ 847883 w 1816431"/>
              <a:gd name="connsiteY213" fmla="*/ 721196 h 1816473"/>
              <a:gd name="connsiteX214" fmla="*/ 847883 w 1816431"/>
              <a:gd name="connsiteY214" fmla="*/ 767897 h 1816473"/>
              <a:gd name="connsiteX215" fmla="*/ 847883 w 1816431"/>
              <a:gd name="connsiteY215" fmla="*/ 814599 h 1816473"/>
              <a:gd name="connsiteX216" fmla="*/ 757389 w 1816431"/>
              <a:gd name="connsiteY216" fmla="*/ 837109 h 1816473"/>
              <a:gd name="connsiteX217" fmla="*/ 629819 w 1816431"/>
              <a:gd name="connsiteY217" fmla="*/ 893462 h 1816473"/>
              <a:gd name="connsiteX218" fmla="*/ 615556 w 1816431"/>
              <a:gd name="connsiteY218" fmla="*/ 947583 h 1816473"/>
              <a:gd name="connsiteX219" fmla="*/ 629569 w 1816431"/>
              <a:gd name="connsiteY219" fmla="*/ 947082 h 1816473"/>
              <a:gd name="connsiteX220" fmla="*/ 750320 w 1816431"/>
              <a:gd name="connsiteY220" fmla="*/ 941015 h 1816473"/>
              <a:gd name="connsiteX221" fmla="*/ 873452 w 1816431"/>
              <a:gd name="connsiteY221" fmla="*/ 972575 h 1816473"/>
              <a:gd name="connsiteX222" fmla="*/ 969236 w 1816431"/>
              <a:gd name="connsiteY222" fmla="*/ 998922 h 1816473"/>
              <a:gd name="connsiteX223" fmla="*/ 1083795 w 1816431"/>
              <a:gd name="connsiteY223" fmla="*/ 1028852 h 1816473"/>
              <a:gd name="connsiteX224" fmla="*/ 1184894 w 1816431"/>
              <a:gd name="connsiteY224" fmla="*/ 1052867 h 1816473"/>
              <a:gd name="connsiteX225" fmla="*/ 1200862 w 1816431"/>
              <a:gd name="connsiteY225" fmla="*/ 1052165 h 1816473"/>
              <a:gd name="connsiteX226" fmla="*/ 1423012 w 1816431"/>
              <a:gd name="connsiteY226" fmla="*/ 934899 h 1816473"/>
              <a:gd name="connsiteX227" fmla="*/ 1578582 w 1816431"/>
              <a:gd name="connsiteY227" fmla="*/ 851599 h 1816473"/>
              <a:gd name="connsiteX228" fmla="*/ 1507741 w 1816431"/>
              <a:gd name="connsiteY228" fmla="*/ 832196 h 1816473"/>
              <a:gd name="connsiteX229" fmla="*/ 1436774 w 1816431"/>
              <a:gd name="connsiteY229" fmla="*/ 814699 h 1816473"/>
              <a:gd name="connsiteX230" fmla="*/ 1436774 w 1816431"/>
              <a:gd name="connsiteY230" fmla="*/ 767872 h 1816473"/>
              <a:gd name="connsiteX231" fmla="*/ 1436774 w 1816431"/>
              <a:gd name="connsiteY231" fmla="*/ 721021 h 1816473"/>
              <a:gd name="connsiteX232" fmla="*/ 1450085 w 1816431"/>
              <a:gd name="connsiteY232" fmla="*/ 712824 h 1816473"/>
              <a:gd name="connsiteX233" fmla="*/ 1516489 w 1816431"/>
              <a:gd name="connsiteY233" fmla="*/ 629040 h 1816473"/>
              <a:gd name="connsiteX234" fmla="*/ 1521352 w 1816431"/>
              <a:gd name="connsiteY234" fmla="*/ 552563 h 1816473"/>
              <a:gd name="connsiteX235" fmla="*/ 1520149 w 1816431"/>
              <a:gd name="connsiteY235" fmla="*/ 494770 h 1816473"/>
              <a:gd name="connsiteX236" fmla="*/ 1506863 w 1816431"/>
              <a:gd name="connsiteY236" fmla="*/ 467920 h 1816473"/>
              <a:gd name="connsiteX237" fmla="*/ 1393482 w 1816431"/>
              <a:gd name="connsiteY237" fmla="*/ 382241 h 1816473"/>
              <a:gd name="connsiteX238" fmla="*/ 1313541 w 1816431"/>
              <a:gd name="connsiteY238" fmla="*/ 395770 h 1816473"/>
              <a:gd name="connsiteX239" fmla="*/ 1244179 w 1816431"/>
              <a:gd name="connsiteY239" fmla="*/ 467596 h 1816473"/>
              <a:gd name="connsiteX240" fmla="*/ 1232798 w 1816431"/>
              <a:gd name="connsiteY240" fmla="*/ 491629 h 1816473"/>
              <a:gd name="connsiteX241" fmla="*/ 1232798 w 1816431"/>
              <a:gd name="connsiteY241" fmla="*/ 557258 h 1816473"/>
              <a:gd name="connsiteX242" fmla="*/ 1232798 w 1816431"/>
              <a:gd name="connsiteY242" fmla="*/ 622891 h 1816473"/>
              <a:gd name="connsiteX243" fmla="*/ 1243878 w 1816431"/>
              <a:gd name="connsiteY243" fmla="*/ 645951 h 1816473"/>
              <a:gd name="connsiteX244" fmla="*/ 1300506 w 1816431"/>
              <a:gd name="connsiteY244" fmla="*/ 710618 h 1816473"/>
              <a:gd name="connsiteX245" fmla="*/ 1319908 w 1816431"/>
              <a:gd name="connsiteY245" fmla="*/ 722224 h 1816473"/>
              <a:gd name="connsiteX246" fmla="*/ 1318931 w 1816431"/>
              <a:gd name="connsiteY246" fmla="*/ 768123 h 1816473"/>
              <a:gd name="connsiteX247" fmla="*/ 1317953 w 1816431"/>
              <a:gd name="connsiteY247" fmla="*/ 814022 h 1816473"/>
              <a:gd name="connsiteX248" fmla="*/ 1270124 w 1816431"/>
              <a:gd name="connsiteY248" fmla="*/ 826004 h 1816473"/>
              <a:gd name="connsiteX249" fmla="*/ 1220966 w 1816431"/>
              <a:gd name="connsiteY249" fmla="*/ 839315 h 1816473"/>
              <a:gd name="connsiteX250" fmla="*/ 1230692 w 1816431"/>
              <a:gd name="connsiteY250" fmla="*/ 856036 h 1816473"/>
              <a:gd name="connsiteX251" fmla="*/ 1258643 w 1816431"/>
              <a:gd name="connsiteY251" fmla="*/ 964529 h 1816473"/>
              <a:gd name="connsiteX252" fmla="*/ 1263882 w 1816431"/>
              <a:gd name="connsiteY252" fmla="*/ 1017547 h 1816473"/>
              <a:gd name="connsiteX253" fmla="*/ 1423012 w 1816431"/>
              <a:gd name="connsiteY253" fmla="*/ 934899 h 1816473"/>
              <a:gd name="connsiteX254" fmla="*/ 518368 w 1816431"/>
              <a:gd name="connsiteY254" fmla="*/ 971848 h 1816473"/>
              <a:gd name="connsiteX255" fmla="*/ 556070 w 1816431"/>
              <a:gd name="connsiteY255" fmla="*/ 963777 h 1816473"/>
              <a:gd name="connsiteX256" fmla="*/ 557925 w 1816431"/>
              <a:gd name="connsiteY256" fmla="*/ 937004 h 1816473"/>
              <a:gd name="connsiteX257" fmla="*/ 585675 w 1816431"/>
              <a:gd name="connsiteY257" fmla="*/ 856036 h 1816473"/>
              <a:gd name="connsiteX258" fmla="*/ 595426 w 1816431"/>
              <a:gd name="connsiteY258" fmla="*/ 839315 h 1816473"/>
              <a:gd name="connsiteX259" fmla="*/ 546269 w 1816431"/>
              <a:gd name="connsiteY259" fmla="*/ 826004 h 1816473"/>
              <a:gd name="connsiteX260" fmla="*/ 498439 w 1816431"/>
              <a:gd name="connsiteY260" fmla="*/ 814022 h 1816473"/>
              <a:gd name="connsiteX261" fmla="*/ 497462 w 1816431"/>
              <a:gd name="connsiteY261" fmla="*/ 768098 h 1816473"/>
              <a:gd name="connsiteX262" fmla="*/ 496459 w 1816431"/>
              <a:gd name="connsiteY262" fmla="*/ 722174 h 1816473"/>
              <a:gd name="connsiteX263" fmla="*/ 509695 w 1816431"/>
              <a:gd name="connsiteY263" fmla="*/ 715105 h 1816473"/>
              <a:gd name="connsiteX264" fmla="*/ 571411 w 1816431"/>
              <a:gd name="connsiteY264" fmla="*/ 647801 h 1816473"/>
              <a:gd name="connsiteX265" fmla="*/ 584823 w 1816431"/>
              <a:gd name="connsiteY265" fmla="*/ 569271 h 1816473"/>
              <a:gd name="connsiteX266" fmla="*/ 542659 w 1816431"/>
              <a:gd name="connsiteY266" fmla="*/ 428325 h 1816473"/>
              <a:gd name="connsiteX267" fmla="*/ 340788 w 1816431"/>
              <a:gd name="connsiteY267" fmla="*/ 420802 h 1816473"/>
              <a:gd name="connsiteX268" fmla="*/ 294488 w 1816431"/>
              <a:gd name="connsiteY268" fmla="*/ 557589 h 1816473"/>
              <a:gd name="connsiteX269" fmla="*/ 301407 w 1816431"/>
              <a:gd name="connsiteY269" fmla="*/ 633116 h 1816473"/>
              <a:gd name="connsiteX270" fmla="*/ 362748 w 1816431"/>
              <a:gd name="connsiteY270" fmla="*/ 710367 h 1816473"/>
              <a:gd name="connsiteX271" fmla="*/ 379593 w 1816431"/>
              <a:gd name="connsiteY271" fmla="*/ 721196 h 1816473"/>
              <a:gd name="connsiteX272" fmla="*/ 379593 w 1816431"/>
              <a:gd name="connsiteY272" fmla="*/ 768073 h 1816473"/>
              <a:gd name="connsiteX273" fmla="*/ 379593 w 1816431"/>
              <a:gd name="connsiteY273" fmla="*/ 814950 h 1816473"/>
              <a:gd name="connsiteX274" fmla="*/ 352094 w 1816431"/>
              <a:gd name="connsiteY274" fmla="*/ 821342 h 1816473"/>
              <a:gd name="connsiteX275" fmla="*/ 320383 w 1816431"/>
              <a:gd name="connsiteY275" fmla="*/ 829990 h 1816473"/>
              <a:gd name="connsiteX276" fmla="*/ 392428 w 1816431"/>
              <a:gd name="connsiteY276" fmla="*/ 876566 h 1816473"/>
              <a:gd name="connsiteX277" fmla="*/ 468684 w 1816431"/>
              <a:gd name="connsiteY277" fmla="*/ 920886 h 1816473"/>
              <a:gd name="connsiteX278" fmla="*/ 467581 w 1816431"/>
              <a:gd name="connsiteY278" fmla="*/ 952095 h 1816473"/>
              <a:gd name="connsiteX279" fmla="*/ 473597 w 1816431"/>
              <a:gd name="connsiteY279" fmla="*/ 981625 h 1816473"/>
              <a:gd name="connsiteX280" fmla="*/ 518368 w 1816431"/>
              <a:gd name="connsiteY280" fmla="*/ 971848 h 1816473"/>
              <a:gd name="connsiteX281" fmla="*/ 735229 w 1816431"/>
              <a:gd name="connsiteY281" fmla="*/ 782286 h 1816473"/>
              <a:gd name="connsiteX282" fmla="*/ 791105 w 1816431"/>
              <a:gd name="connsiteY282" fmla="*/ 762132 h 1816473"/>
              <a:gd name="connsiteX283" fmla="*/ 768945 w 1816431"/>
              <a:gd name="connsiteY283" fmla="*/ 734934 h 1816473"/>
              <a:gd name="connsiteX284" fmla="*/ 712643 w 1816431"/>
              <a:gd name="connsiteY284" fmla="*/ 645951 h 1816473"/>
              <a:gd name="connsiteX285" fmla="*/ 707329 w 1816431"/>
              <a:gd name="connsiteY285" fmla="*/ 489854 h 1816473"/>
              <a:gd name="connsiteX286" fmla="*/ 844073 w 1816431"/>
              <a:gd name="connsiteY286" fmla="*/ 333371 h 1816473"/>
              <a:gd name="connsiteX287" fmla="*/ 1074320 w 1816431"/>
              <a:gd name="connsiteY287" fmla="*/ 413357 h 1816473"/>
              <a:gd name="connsiteX288" fmla="*/ 1112899 w 1816431"/>
              <a:gd name="connsiteY288" fmla="*/ 577894 h 1816473"/>
              <a:gd name="connsiteX289" fmla="*/ 1050982 w 1816431"/>
              <a:gd name="connsiteY289" fmla="*/ 730722 h 1816473"/>
              <a:gd name="connsiteX290" fmla="*/ 1025262 w 1816431"/>
              <a:gd name="connsiteY290" fmla="*/ 762733 h 1816473"/>
              <a:gd name="connsiteX291" fmla="*/ 1083795 w 1816431"/>
              <a:gd name="connsiteY291" fmla="*/ 783038 h 1816473"/>
              <a:gd name="connsiteX292" fmla="*/ 1142329 w 1816431"/>
              <a:gd name="connsiteY292" fmla="*/ 797578 h 1816473"/>
              <a:gd name="connsiteX293" fmla="*/ 1200862 w 1816431"/>
              <a:gd name="connsiteY293" fmla="*/ 783038 h 1816473"/>
              <a:gd name="connsiteX294" fmla="*/ 1259395 w 1816431"/>
              <a:gd name="connsiteY294" fmla="*/ 762383 h 1816473"/>
              <a:gd name="connsiteX295" fmla="*/ 1233675 w 1816431"/>
              <a:gd name="connsiteY295" fmla="*/ 730371 h 1816473"/>
              <a:gd name="connsiteX296" fmla="*/ 1172059 w 1816431"/>
              <a:gd name="connsiteY296" fmla="*/ 576771 h 1816473"/>
              <a:gd name="connsiteX297" fmla="*/ 1185370 w 1816431"/>
              <a:gd name="connsiteY297" fmla="*/ 455837 h 1816473"/>
              <a:gd name="connsiteX298" fmla="*/ 1192915 w 1816431"/>
              <a:gd name="connsiteY298" fmla="*/ 434239 h 1816473"/>
              <a:gd name="connsiteX299" fmla="*/ 1176120 w 1816431"/>
              <a:gd name="connsiteY299" fmla="*/ 408752 h 1816473"/>
              <a:gd name="connsiteX300" fmla="*/ 1041356 w 1816431"/>
              <a:gd name="connsiteY300" fmla="*/ 294398 h 1816473"/>
              <a:gd name="connsiteX301" fmla="*/ 877137 w 1816431"/>
              <a:gd name="connsiteY301" fmla="*/ 266488 h 1816473"/>
              <a:gd name="connsiteX302" fmla="*/ 770900 w 1816431"/>
              <a:gd name="connsiteY302" fmla="*/ 296386 h 1816473"/>
              <a:gd name="connsiteX303" fmla="*/ 632627 w 1816431"/>
              <a:gd name="connsiteY303" fmla="*/ 420725 h 1816473"/>
              <a:gd name="connsiteX304" fmla="*/ 621923 w 1816431"/>
              <a:gd name="connsiteY304" fmla="*/ 438513 h 1816473"/>
              <a:gd name="connsiteX305" fmla="*/ 630070 w 1816431"/>
              <a:gd name="connsiteY305" fmla="*/ 460286 h 1816473"/>
              <a:gd name="connsiteX306" fmla="*/ 644308 w 1816431"/>
              <a:gd name="connsiteY306" fmla="*/ 582093 h 1816473"/>
              <a:gd name="connsiteX307" fmla="*/ 582692 w 1816431"/>
              <a:gd name="connsiteY307" fmla="*/ 730371 h 1816473"/>
              <a:gd name="connsiteX308" fmla="*/ 556973 w 1816431"/>
              <a:gd name="connsiteY308" fmla="*/ 762408 h 1816473"/>
              <a:gd name="connsiteX309" fmla="*/ 614628 w 1816431"/>
              <a:gd name="connsiteY309" fmla="*/ 783164 h 1816473"/>
              <a:gd name="connsiteX310" fmla="*/ 675818 w 1816431"/>
              <a:gd name="connsiteY310" fmla="*/ 796901 h 1816473"/>
              <a:gd name="connsiteX311" fmla="*/ 735229 w 1816431"/>
              <a:gd name="connsiteY311" fmla="*/ 782286 h 1816473"/>
              <a:gd name="connsiteX312" fmla="*/ 599537 w 1816431"/>
              <a:gd name="connsiteY312" fmla="*/ 364916 h 1816473"/>
              <a:gd name="connsiteX313" fmla="*/ 640347 w 1816431"/>
              <a:gd name="connsiteY313" fmla="*/ 317907 h 1816473"/>
              <a:gd name="connsiteX314" fmla="*/ 835450 w 1816431"/>
              <a:gd name="connsiteY314" fmla="*/ 212610 h 1816473"/>
              <a:gd name="connsiteX315" fmla="*/ 980893 w 1816431"/>
              <a:gd name="connsiteY315" fmla="*/ 212818 h 1816473"/>
              <a:gd name="connsiteX316" fmla="*/ 1213270 w 1816431"/>
              <a:gd name="connsiteY316" fmla="*/ 360364 h 1816473"/>
              <a:gd name="connsiteX317" fmla="*/ 1229614 w 1816431"/>
              <a:gd name="connsiteY317" fmla="*/ 382923 h 1816473"/>
              <a:gd name="connsiteX318" fmla="*/ 1247663 w 1816431"/>
              <a:gd name="connsiteY318" fmla="*/ 370131 h 1816473"/>
              <a:gd name="connsiteX319" fmla="*/ 1280552 w 1816431"/>
              <a:gd name="connsiteY319" fmla="*/ 347572 h 1816473"/>
              <a:gd name="connsiteX320" fmla="*/ 1311460 w 1816431"/>
              <a:gd name="connsiteY320" fmla="*/ 303603 h 1816473"/>
              <a:gd name="connsiteX321" fmla="*/ 1326651 w 1816431"/>
              <a:gd name="connsiteY321" fmla="*/ 262753 h 1816473"/>
              <a:gd name="connsiteX322" fmla="*/ 1281555 w 1816431"/>
              <a:gd name="connsiteY322" fmla="*/ 212237 h 1816473"/>
              <a:gd name="connsiteX323" fmla="*/ 1236307 w 1816431"/>
              <a:gd name="connsiteY323" fmla="*/ 167092 h 1816473"/>
              <a:gd name="connsiteX324" fmla="*/ 1215050 w 1816431"/>
              <a:gd name="connsiteY324" fmla="*/ 181378 h 1816473"/>
              <a:gd name="connsiteX325" fmla="*/ 1173688 w 1816431"/>
              <a:gd name="connsiteY325" fmla="*/ 208013 h 1816473"/>
              <a:gd name="connsiteX326" fmla="*/ 1153609 w 1816431"/>
              <a:gd name="connsiteY326" fmla="*/ 220361 h 1816473"/>
              <a:gd name="connsiteX327" fmla="*/ 1116108 w 1816431"/>
              <a:gd name="connsiteY327" fmla="*/ 200520 h 1816473"/>
              <a:gd name="connsiteX328" fmla="*/ 1006161 w 1816431"/>
              <a:gd name="connsiteY328" fmla="*/ 157992 h 1816473"/>
              <a:gd name="connsiteX329" fmla="*/ 991546 w 1816431"/>
              <a:gd name="connsiteY329" fmla="*/ 147993 h 1816473"/>
              <a:gd name="connsiteX330" fmla="*/ 982698 w 1816431"/>
              <a:gd name="connsiteY330" fmla="*/ 106709 h 1816473"/>
              <a:gd name="connsiteX331" fmla="*/ 973723 w 1816431"/>
              <a:gd name="connsiteY331" fmla="*/ 65024 h 1816473"/>
              <a:gd name="connsiteX332" fmla="*/ 908196 w 1816431"/>
              <a:gd name="connsiteY332" fmla="*/ 57042 h 1816473"/>
              <a:gd name="connsiteX333" fmla="*/ 842619 w 1816431"/>
              <a:gd name="connsiteY333" fmla="*/ 65024 h 1816473"/>
              <a:gd name="connsiteX334" fmla="*/ 832216 w 1816431"/>
              <a:gd name="connsiteY334" fmla="*/ 113202 h 1816473"/>
              <a:gd name="connsiteX335" fmla="*/ 822464 w 1816431"/>
              <a:gd name="connsiteY335" fmla="*/ 154147 h 1816473"/>
              <a:gd name="connsiteX336" fmla="*/ 782256 w 1816431"/>
              <a:gd name="connsiteY336" fmla="*/ 166530 h 1816473"/>
              <a:gd name="connsiteX337" fmla="*/ 702917 w 1816431"/>
              <a:gd name="connsiteY337" fmla="*/ 199249 h 1816473"/>
              <a:gd name="connsiteX338" fmla="*/ 662633 w 1816431"/>
              <a:gd name="connsiteY338" fmla="*/ 220333 h 1816473"/>
              <a:gd name="connsiteX339" fmla="*/ 649698 w 1816431"/>
              <a:gd name="connsiteY339" fmla="*/ 212520 h 1816473"/>
              <a:gd name="connsiteX340" fmla="*/ 611244 w 1816431"/>
              <a:gd name="connsiteY340" fmla="*/ 187638 h 1816473"/>
              <a:gd name="connsiteX341" fmla="*/ 581037 w 1816431"/>
              <a:gd name="connsiteY341" fmla="*/ 170566 h 1816473"/>
              <a:gd name="connsiteX342" fmla="*/ 531453 w 1816431"/>
              <a:gd name="connsiteY342" fmla="*/ 215799 h 1816473"/>
              <a:gd name="connsiteX343" fmla="*/ 486532 w 1816431"/>
              <a:gd name="connsiteY343" fmla="*/ 261031 h 1816473"/>
              <a:gd name="connsiteX344" fmla="*/ 503027 w 1816431"/>
              <a:gd name="connsiteY344" fmla="*/ 300472 h 1816473"/>
              <a:gd name="connsiteX345" fmla="*/ 534061 w 1816431"/>
              <a:gd name="connsiteY345" fmla="*/ 347637 h 1816473"/>
              <a:gd name="connsiteX346" fmla="*/ 565596 w 1816431"/>
              <a:gd name="connsiteY346" fmla="*/ 369394 h 1816473"/>
              <a:gd name="connsiteX347" fmla="*/ 584848 w 1816431"/>
              <a:gd name="connsiteY347" fmla="*/ 383419 h 1816473"/>
              <a:gd name="connsiteX348" fmla="*/ 599537 w 1816431"/>
              <a:gd name="connsiteY348" fmla="*/ 364916 h 181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</a:cxnLst>
            <a:rect l="l" t="t" r="r" b="b"/>
            <a:pathLst>
              <a:path w="1816431" h="1816473">
                <a:moveTo>
                  <a:pt x="903558" y="1811542"/>
                </a:moveTo>
                <a:cubicBezTo>
                  <a:pt x="888092" y="1806027"/>
                  <a:pt x="866659" y="1791864"/>
                  <a:pt x="854978" y="1779430"/>
                </a:cubicBezTo>
                <a:lnTo>
                  <a:pt x="846956" y="1770882"/>
                </a:lnTo>
                <a:lnTo>
                  <a:pt x="832466" y="1778252"/>
                </a:lnTo>
                <a:cubicBezTo>
                  <a:pt x="822615" y="1783290"/>
                  <a:pt x="810958" y="1785697"/>
                  <a:pt x="795893" y="1785847"/>
                </a:cubicBezTo>
                <a:cubicBezTo>
                  <a:pt x="753528" y="1786249"/>
                  <a:pt x="718058" y="1759150"/>
                  <a:pt x="707780" y="1718490"/>
                </a:cubicBezTo>
                <a:cubicBezTo>
                  <a:pt x="704195" y="1704302"/>
                  <a:pt x="701688" y="1700868"/>
                  <a:pt x="693190" y="1698386"/>
                </a:cubicBezTo>
                <a:cubicBezTo>
                  <a:pt x="671256" y="1692019"/>
                  <a:pt x="645562" y="1677053"/>
                  <a:pt x="636763" y="1665547"/>
                </a:cubicBezTo>
                <a:cubicBezTo>
                  <a:pt x="625608" y="1650908"/>
                  <a:pt x="617285" y="1631756"/>
                  <a:pt x="617285" y="1620726"/>
                </a:cubicBezTo>
                <a:cubicBezTo>
                  <a:pt x="617285" y="1613908"/>
                  <a:pt x="614453" y="1611903"/>
                  <a:pt x="599838" y="1608443"/>
                </a:cubicBezTo>
                <a:cubicBezTo>
                  <a:pt x="564643" y="1600071"/>
                  <a:pt x="539500" y="1575203"/>
                  <a:pt x="531278" y="1540635"/>
                </a:cubicBezTo>
                <a:cubicBezTo>
                  <a:pt x="527668" y="1525344"/>
                  <a:pt x="525588" y="1522210"/>
                  <a:pt x="519120" y="1522210"/>
                </a:cubicBezTo>
                <a:cubicBezTo>
                  <a:pt x="499492" y="1522210"/>
                  <a:pt x="469887" y="1503735"/>
                  <a:pt x="456075" y="1482879"/>
                </a:cubicBezTo>
                <a:cubicBezTo>
                  <a:pt x="451011" y="1475208"/>
                  <a:pt x="445020" y="1460945"/>
                  <a:pt x="442739" y="1451143"/>
                </a:cubicBezTo>
                <a:lnTo>
                  <a:pt x="438653" y="1433345"/>
                </a:lnTo>
                <a:lnTo>
                  <a:pt x="397592" y="1409480"/>
                </a:lnTo>
                <a:cubicBezTo>
                  <a:pt x="375006" y="1396370"/>
                  <a:pt x="355002" y="1385641"/>
                  <a:pt x="353147" y="1385641"/>
                </a:cubicBezTo>
                <a:cubicBezTo>
                  <a:pt x="351292" y="1385641"/>
                  <a:pt x="348810" y="1389627"/>
                  <a:pt x="347682" y="1394490"/>
                </a:cubicBezTo>
                <a:cubicBezTo>
                  <a:pt x="345677" y="1402988"/>
                  <a:pt x="344323" y="1403414"/>
                  <a:pt x="315570" y="1404317"/>
                </a:cubicBezTo>
                <a:lnTo>
                  <a:pt x="285589" y="1405294"/>
                </a:lnTo>
                <a:lnTo>
                  <a:pt x="143681" y="1357916"/>
                </a:lnTo>
                <a:lnTo>
                  <a:pt x="1773" y="1310538"/>
                </a:lnTo>
                <a:lnTo>
                  <a:pt x="870" y="1006617"/>
                </a:lnTo>
                <a:lnTo>
                  <a:pt x="-57" y="702721"/>
                </a:lnTo>
                <a:lnTo>
                  <a:pt x="47045" y="702721"/>
                </a:lnTo>
                <a:lnTo>
                  <a:pt x="94172" y="702721"/>
                </a:lnTo>
                <a:lnTo>
                  <a:pt x="167771" y="745612"/>
                </a:lnTo>
                <a:lnTo>
                  <a:pt x="241370" y="788528"/>
                </a:lnTo>
                <a:lnTo>
                  <a:pt x="282105" y="778576"/>
                </a:lnTo>
                <a:cubicBezTo>
                  <a:pt x="313941" y="770830"/>
                  <a:pt x="322815" y="767346"/>
                  <a:pt x="322815" y="762683"/>
                </a:cubicBezTo>
                <a:cubicBezTo>
                  <a:pt x="322815" y="759400"/>
                  <a:pt x="311108" y="744960"/>
                  <a:pt x="296795" y="730597"/>
                </a:cubicBezTo>
                <a:cubicBezTo>
                  <a:pt x="266337" y="700039"/>
                  <a:pt x="247762" y="665947"/>
                  <a:pt x="239089" y="624663"/>
                </a:cubicBezTo>
                <a:cubicBezTo>
                  <a:pt x="230967" y="585989"/>
                  <a:pt x="233824" y="497033"/>
                  <a:pt x="244253" y="464764"/>
                </a:cubicBezTo>
                <a:cubicBezTo>
                  <a:pt x="269120" y="387648"/>
                  <a:pt x="340864" y="331243"/>
                  <a:pt x="423036" y="324151"/>
                </a:cubicBezTo>
                <a:cubicBezTo>
                  <a:pt x="436221" y="323016"/>
                  <a:pt x="447000" y="320973"/>
                  <a:pt x="447000" y="319612"/>
                </a:cubicBezTo>
                <a:cubicBezTo>
                  <a:pt x="447000" y="318253"/>
                  <a:pt x="440458" y="301483"/>
                  <a:pt x="432461" y="282346"/>
                </a:cubicBezTo>
                <a:lnTo>
                  <a:pt x="417922" y="247554"/>
                </a:lnTo>
                <a:lnTo>
                  <a:pt x="495431" y="170105"/>
                </a:lnTo>
                <a:lnTo>
                  <a:pt x="572940" y="92653"/>
                </a:lnTo>
                <a:lnTo>
                  <a:pt x="618388" y="122675"/>
                </a:lnTo>
                <a:lnTo>
                  <a:pt x="663836" y="152693"/>
                </a:lnTo>
                <a:lnTo>
                  <a:pt x="687575" y="140761"/>
                </a:lnTo>
                <a:cubicBezTo>
                  <a:pt x="700610" y="134198"/>
                  <a:pt x="724074" y="124407"/>
                  <a:pt x="739666" y="119002"/>
                </a:cubicBezTo>
                <a:cubicBezTo>
                  <a:pt x="755283" y="113598"/>
                  <a:pt x="769847" y="107421"/>
                  <a:pt x="772028" y="105280"/>
                </a:cubicBezTo>
                <a:cubicBezTo>
                  <a:pt x="774209" y="103139"/>
                  <a:pt x="780576" y="78638"/>
                  <a:pt x="786166" y="50833"/>
                </a:cubicBezTo>
                <a:lnTo>
                  <a:pt x="796344" y="279"/>
                </a:lnTo>
                <a:lnTo>
                  <a:pt x="908196" y="279"/>
                </a:lnTo>
                <a:lnTo>
                  <a:pt x="1020023" y="279"/>
                </a:lnTo>
                <a:lnTo>
                  <a:pt x="1030201" y="50833"/>
                </a:lnTo>
                <a:cubicBezTo>
                  <a:pt x="1035816" y="78638"/>
                  <a:pt x="1042158" y="103139"/>
                  <a:pt x="1044339" y="105280"/>
                </a:cubicBezTo>
                <a:cubicBezTo>
                  <a:pt x="1046520" y="107421"/>
                  <a:pt x="1061084" y="113598"/>
                  <a:pt x="1076701" y="119002"/>
                </a:cubicBezTo>
                <a:cubicBezTo>
                  <a:pt x="1092318" y="124407"/>
                  <a:pt x="1115757" y="134198"/>
                  <a:pt x="1128792" y="140761"/>
                </a:cubicBezTo>
                <a:lnTo>
                  <a:pt x="1152531" y="152693"/>
                </a:lnTo>
                <a:lnTo>
                  <a:pt x="1197979" y="122675"/>
                </a:lnTo>
                <a:lnTo>
                  <a:pt x="1243426" y="92653"/>
                </a:lnTo>
                <a:lnTo>
                  <a:pt x="1320986" y="170158"/>
                </a:lnTo>
                <a:lnTo>
                  <a:pt x="1398546" y="247660"/>
                </a:lnTo>
                <a:lnTo>
                  <a:pt x="1382578" y="285387"/>
                </a:lnTo>
                <a:lnTo>
                  <a:pt x="1366584" y="323113"/>
                </a:lnTo>
                <a:lnTo>
                  <a:pt x="1383054" y="323166"/>
                </a:lnTo>
                <a:cubicBezTo>
                  <a:pt x="1451790" y="323384"/>
                  <a:pt x="1524586" y="371171"/>
                  <a:pt x="1557300" y="437525"/>
                </a:cubicBezTo>
                <a:cubicBezTo>
                  <a:pt x="1575799" y="475092"/>
                  <a:pt x="1582116" y="505942"/>
                  <a:pt x="1582116" y="559033"/>
                </a:cubicBezTo>
                <a:cubicBezTo>
                  <a:pt x="1582116" y="637981"/>
                  <a:pt x="1564945" y="685074"/>
                  <a:pt x="1519573" y="730597"/>
                </a:cubicBezTo>
                <a:cubicBezTo>
                  <a:pt x="1505259" y="744960"/>
                  <a:pt x="1493552" y="759375"/>
                  <a:pt x="1493552" y="762633"/>
                </a:cubicBezTo>
                <a:cubicBezTo>
                  <a:pt x="1493552" y="767346"/>
                  <a:pt x="1506287" y="771658"/>
                  <a:pt x="1556522" y="783966"/>
                </a:cubicBezTo>
                <a:cubicBezTo>
                  <a:pt x="1591141" y="792464"/>
                  <a:pt x="1627013" y="802566"/>
                  <a:pt x="1636213" y="806427"/>
                </a:cubicBezTo>
                <a:lnTo>
                  <a:pt x="1652933" y="813446"/>
                </a:lnTo>
                <a:lnTo>
                  <a:pt x="1700862" y="788227"/>
                </a:lnTo>
                <a:lnTo>
                  <a:pt x="1748767" y="763009"/>
                </a:lnTo>
                <a:lnTo>
                  <a:pt x="1782583" y="763009"/>
                </a:lnTo>
                <a:lnTo>
                  <a:pt x="1816374" y="763009"/>
                </a:lnTo>
                <a:lnTo>
                  <a:pt x="1816374" y="976787"/>
                </a:lnTo>
                <a:lnTo>
                  <a:pt x="1816374" y="1190539"/>
                </a:lnTo>
                <a:lnTo>
                  <a:pt x="1552085" y="1322671"/>
                </a:lnTo>
                <a:lnTo>
                  <a:pt x="1287772" y="1454803"/>
                </a:lnTo>
                <a:lnTo>
                  <a:pt x="1287772" y="1466334"/>
                </a:lnTo>
                <a:cubicBezTo>
                  <a:pt x="1287746" y="1486489"/>
                  <a:pt x="1281028" y="1503083"/>
                  <a:pt x="1266038" y="1520104"/>
                </a:cubicBezTo>
                <a:cubicBezTo>
                  <a:pt x="1249493" y="1538905"/>
                  <a:pt x="1236884" y="1546426"/>
                  <a:pt x="1215752" y="1550035"/>
                </a:cubicBezTo>
                <a:cubicBezTo>
                  <a:pt x="1201839" y="1552392"/>
                  <a:pt x="1200887" y="1553344"/>
                  <a:pt x="1198531" y="1567257"/>
                </a:cubicBezTo>
                <a:cubicBezTo>
                  <a:pt x="1197127" y="1575354"/>
                  <a:pt x="1193542" y="1586735"/>
                  <a:pt x="1190559" y="1592525"/>
                </a:cubicBezTo>
                <a:cubicBezTo>
                  <a:pt x="1178225" y="1616390"/>
                  <a:pt x="1145813" y="1639026"/>
                  <a:pt x="1123778" y="1639201"/>
                </a:cubicBezTo>
                <a:cubicBezTo>
                  <a:pt x="1116108" y="1639251"/>
                  <a:pt x="1113651" y="1641307"/>
                  <a:pt x="1111997" y="1649053"/>
                </a:cubicBezTo>
                <a:cubicBezTo>
                  <a:pt x="1107058" y="1672140"/>
                  <a:pt x="1098385" y="1689487"/>
                  <a:pt x="1085224" y="1702648"/>
                </a:cubicBezTo>
                <a:cubicBezTo>
                  <a:pt x="1072214" y="1715658"/>
                  <a:pt x="1046495" y="1727966"/>
                  <a:pt x="1032331" y="1727966"/>
                </a:cubicBezTo>
                <a:cubicBezTo>
                  <a:pt x="1028220" y="1727966"/>
                  <a:pt x="1025262" y="1733255"/>
                  <a:pt x="1022380" y="1745689"/>
                </a:cubicBezTo>
                <a:cubicBezTo>
                  <a:pt x="1010121" y="1798782"/>
                  <a:pt x="954396" y="1829666"/>
                  <a:pt x="903558" y="1811542"/>
                </a:cubicBezTo>
                <a:close/>
                <a:moveTo>
                  <a:pt x="956978" y="1748170"/>
                </a:moveTo>
                <a:cubicBezTo>
                  <a:pt x="962568" y="1743107"/>
                  <a:pt x="964949" y="1736915"/>
                  <a:pt x="964949" y="1727490"/>
                </a:cubicBezTo>
                <a:cubicBezTo>
                  <a:pt x="964949" y="1716084"/>
                  <a:pt x="962368" y="1711546"/>
                  <a:pt x="948104" y="1697759"/>
                </a:cubicBezTo>
                <a:lnTo>
                  <a:pt x="931259" y="1681491"/>
                </a:lnTo>
                <a:lnTo>
                  <a:pt x="924139" y="1691242"/>
                </a:lnTo>
                <a:cubicBezTo>
                  <a:pt x="920254" y="1696606"/>
                  <a:pt x="910703" y="1708037"/>
                  <a:pt x="902932" y="1716661"/>
                </a:cubicBezTo>
                <a:lnTo>
                  <a:pt x="888819" y="1732303"/>
                </a:lnTo>
                <a:lnTo>
                  <a:pt x="899397" y="1741076"/>
                </a:lnTo>
                <a:cubicBezTo>
                  <a:pt x="922786" y="1760504"/>
                  <a:pt x="940935" y="1762735"/>
                  <a:pt x="956978" y="1748170"/>
                </a:cubicBezTo>
                <a:close/>
                <a:moveTo>
                  <a:pt x="838783" y="1699414"/>
                </a:moveTo>
                <a:cubicBezTo>
                  <a:pt x="879769" y="1660057"/>
                  <a:pt x="886638" y="1643237"/>
                  <a:pt x="869642" y="1623809"/>
                </a:cubicBezTo>
                <a:cubicBezTo>
                  <a:pt x="851217" y="1602778"/>
                  <a:pt x="832592" y="1609145"/>
                  <a:pt x="793235" y="1649955"/>
                </a:cubicBezTo>
                <a:cubicBezTo>
                  <a:pt x="765561" y="1678683"/>
                  <a:pt x="762728" y="1682894"/>
                  <a:pt x="762728" y="1695453"/>
                </a:cubicBezTo>
                <a:cubicBezTo>
                  <a:pt x="762728" y="1714555"/>
                  <a:pt x="776139" y="1727966"/>
                  <a:pt x="795241" y="1727966"/>
                </a:cubicBezTo>
                <a:cubicBezTo>
                  <a:pt x="807650" y="1727966"/>
                  <a:pt x="811986" y="1725133"/>
                  <a:pt x="838783" y="1699414"/>
                </a:cubicBezTo>
                <a:close/>
                <a:moveTo>
                  <a:pt x="1045667" y="1659681"/>
                </a:moveTo>
                <a:cubicBezTo>
                  <a:pt x="1054842" y="1651134"/>
                  <a:pt x="1056271" y="1633962"/>
                  <a:pt x="1048701" y="1623158"/>
                </a:cubicBezTo>
                <a:cubicBezTo>
                  <a:pt x="1045993" y="1619297"/>
                  <a:pt x="1009269" y="1587436"/>
                  <a:pt x="967105" y="1552392"/>
                </a:cubicBezTo>
                <a:cubicBezTo>
                  <a:pt x="924942" y="1517347"/>
                  <a:pt x="890498" y="1487842"/>
                  <a:pt x="890524" y="1486814"/>
                </a:cubicBezTo>
                <a:cubicBezTo>
                  <a:pt x="890574" y="1485812"/>
                  <a:pt x="898996" y="1475609"/>
                  <a:pt x="909249" y="1464153"/>
                </a:cubicBezTo>
                <a:lnTo>
                  <a:pt x="927874" y="1443322"/>
                </a:lnTo>
                <a:lnTo>
                  <a:pt x="1004055" y="1506869"/>
                </a:lnTo>
                <a:cubicBezTo>
                  <a:pt x="1095402" y="1583024"/>
                  <a:pt x="1094700" y="1582523"/>
                  <a:pt x="1109690" y="1582523"/>
                </a:cubicBezTo>
                <a:cubicBezTo>
                  <a:pt x="1123979" y="1582523"/>
                  <a:pt x="1142329" y="1566204"/>
                  <a:pt x="1142303" y="1553520"/>
                </a:cubicBezTo>
                <a:cubicBezTo>
                  <a:pt x="1142279" y="1538629"/>
                  <a:pt x="1130797" y="1526848"/>
                  <a:pt x="1054516" y="1463552"/>
                </a:cubicBezTo>
                <a:cubicBezTo>
                  <a:pt x="1013054" y="1429159"/>
                  <a:pt x="979188" y="1399930"/>
                  <a:pt x="979238" y="1398626"/>
                </a:cubicBezTo>
                <a:cubicBezTo>
                  <a:pt x="979288" y="1397348"/>
                  <a:pt x="987661" y="1387145"/>
                  <a:pt x="997863" y="1376015"/>
                </a:cubicBezTo>
                <a:lnTo>
                  <a:pt x="1016388" y="1355736"/>
                </a:lnTo>
                <a:lnTo>
                  <a:pt x="1098962" y="1424797"/>
                </a:lnTo>
                <a:cubicBezTo>
                  <a:pt x="1175393" y="1488694"/>
                  <a:pt x="1182562" y="1493833"/>
                  <a:pt x="1195447" y="1493833"/>
                </a:cubicBezTo>
                <a:cubicBezTo>
                  <a:pt x="1223473" y="1493833"/>
                  <a:pt x="1238965" y="1466810"/>
                  <a:pt x="1223297" y="1445227"/>
                </a:cubicBezTo>
                <a:cubicBezTo>
                  <a:pt x="1211566" y="1429034"/>
                  <a:pt x="973949" y="1216685"/>
                  <a:pt x="958708" y="1208738"/>
                </a:cubicBezTo>
                <a:cubicBezTo>
                  <a:pt x="949558" y="1203976"/>
                  <a:pt x="940960" y="1202572"/>
                  <a:pt x="927849" y="1203650"/>
                </a:cubicBezTo>
                <a:cubicBezTo>
                  <a:pt x="912483" y="1204928"/>
                  <a:pt x="900776" y="1210493"/>
                  <a:pt x="852245" y="1239672"/>
                </a:cubicBezTo>
                <a:cubicBezTo>
                  <a:pt x="775412" y="1285872"/>
                  <a:pt x="767541" y="1289181"/>
                  <a:pt x="738312" y="1287376"/>
                </a:cubicBezTo>
                <a:cubicBezTo>
                  <a:pt x="700711" y="1285095"/>
                  <a:pt x="670554" y="1265542"/>
                  <a:pt x="654411" y="1232954"/>
                </a:cubicBezTo>
                <a:cubicBezTo>
                  <a:pt x="644935" y="1213852"/>
                  <a:pt x="644559" y="1160533"/>
                  <a:pt x="653759" y="1143562"/>
                </a:cubicBezTo>
                <a:cubicBezTo>
                  <a:pt x="668875" y="1115687"/>
                  <a:pt x="680356" y="1107565"/>
                  <a:pt x="763756" y="1065827"/>
                </a:cubicBezTo>
                <a:cubicBezTo>
                  <a:pt x="808502" y="1043442"/>
                  <a:pt x="844524" y="1024591"/>
                  <a:pt x="843822" y="1023939"/>
                </a:cubicBezTo>
                <a:cubicBezTo>
                  <a:pt x="843120" y="1023287"/>
                  <a:pt x="824194" y="1017396"/>
                  <a:pt x="801759" y="1010879"/>
                </a:cubicBezTo>
                <a:cubicBezTo>
                  <a:pt x="763580" y="999749"/>
                  <a:pt x="757639" y="998997"/>
                  <a:pt x="709509" y="999172"/>
                </a:cubicBezTo>
                <a:cubicBezTo>
                  <a:pt x="659123" y="999348"/>
                  <a:pt x="655940" y="999824"/>
                  <a:pt x="553764" y="1023062"/>
                </a:cubicBezTo>
                <a:cubicBezTo>
                  <a:pt x="496384" y="1036097"/>
                  <a:pt x="448705" y="1047503"/>
                  <a:pt x="447777" y="1048405"/>
                </a:cubicBezTo>
                <a:cubicBezTo>
                  <a:pt x="445797" y="1050386"/>
                  <a:pt x="369165" y="1316705"/>
                  <a:pt x="369140" y="1321769"/>
                </a:cubicBezTo>
                <a:cubicBezTo>
                  <a:pt x="369115" y="1323724"/>
                  <a:pt x="388768" y="1336910"/>
                  <a:pt x="412783" y="1351098"/>
                </a:cubicBezTo>
                <a:lnTo>
                  <a:pt x="456476" y="1376867"/>
                </a:lnTo>
                <a:lnTo>
                  <a:pt x="491972" y="1341397"/>
                </a:lnTo>
                <a:cubicBezTo>
                  <a:pt x="532907" y="1300461"/>
                  <a:pt x="550004" y="1290910"/>
                  <a:pt x="582366" y="1290910"/>
                </a:cubicBezTo>
                <a:cubicBezTo>
                  <a:pt x="627162" y="1290910"/>
                  <a:pt x="661881" y="1320290"/>
                  <a:pt x="671983" y="1366765"/>
                </a:cubicBezTo>
                <a:cubicBezTo>
                  <a:pt x="673688" y="1374611"/>
                  <a:pt x="677297" y="1377219"/>
                  <a:pt x="692890" y="1381731"/>
                </a:cubicBezTo>
                <a:cubicBezTo>
                  <a:pt x="703268" y="1384764"/>
                  <a:pt x="718208" y="1391908"/>
                  <a:pt x="726129" y="1397624"/>
                </a:cubicBezTo>
                <a:cubicBezTo>
                  <a:pt x="741721" y="1408929"/>
                  <a:pt x="759194" y="1439186"/>
                  <a:pt x="759194" y="1454903"/>
                </a:cubicBezTo>
                <a:cubicBezTo>
                  <a:pt x="759194" y="1463176"/>
                  <a:pt x="761174" y="1464680"/>
                  <a:pt x="776891" y="1468314"/>
                </a:cubicBezTo>
                <a:cubicBezTo>
                  <a:pt x="814744" y="1477063"/>
                  <a:pt x="847883" y="1513086"/>
                  <a:pt x="847883" y="1545498"/>
                </a:cubicBezTo>
                <a:cubicBezTo>
                  <a:pt x="847883" y="1552091"/>
                  <a:pt x="849788" y="1554146"/>
                  <a:pt x="855855" y="1554171"/>
                </a:cubicBezTo>
                <a:cubicBezTo>
                  <a:pt x="874079" y="1554247"/>
                  <a:pt x="922384" y="1585155"/>
                  <a:pt x="922384" y="1596736"/>
                </a:cubicBezTo>
                <a:cubicBezTo>
                  <a:pt x="922384" y="1599895"/>
                  <a:pt x="976405" y="1646471"/>
                  <a:pt x="995106" y="1659456"/>
                </a:cubicBezTo>
                <a:cubicBezTo>
                  <a:pt x="1014483" y="1672892"/>
                  <a:pt x="1031429" y="1672992"/>
                  <a:pt x="1045667" y="1659681"/>
                </a:cubicBezTo>
                <a:close/>
                <a:moveTo>
                  <a:pt x="752275" y="1608769"/>
                </a:moveTo>
                <a:cubicBezTo>
                  <a:pt x="769421" y="1591974"/>
                  <a:pt x="785364" y="1573649"/>
                  <a:pt x="787696" y="1568034"/>
                </a:cubicBezTo>
                <a:cubicBezTo>
                  <a:pt x="798575" y="1541788"/>
                  <a:pt x="772404" y="1516344"/>
                  <a:pt x="746183" y="1527650"/>
                </a:cubicBezTo>
                <a:cubicBezTo>
                  <a:pt x="740644" y="1530031"/>
                  <a:pt x="722169" y="1546350"/>
                  <a:pt x="705098" y="1563898"/>
                </a:cubicBezTo>
                <a:cubicBezTo>
                  <a:pt x="672685" y="1597188"/>
                  <a:pt x="668950" y="1605360"/>
                  <a:pt x="678175" y="1622657"/>
                </a:cubicBezTo>
                <a:cubicBezTo>
                  <a:pt x="684542" y="1634639"/>
                  <a:pt x="692338" y="1639051"/>
                  <a:pt x="707329" y="1639176"/>
                </a:cubicBezTo>
                <a:cubicBezTo>
                  <a:pt x="719863" y="1639276"/>
                  <a:pt x="723798" y="1636619"/>
                  <a:pt x="752275" y="1608769"/>
                </a:cubicBezTo>
                <a:close/>
                <a:moveTo>
                  <a:pt x="667847" y="1515517"/>
                </a:moveTo>
                <a:cubicBezTo>
                  <a:pt x="698455" y="1484734"/>
                  <a:pt x="702415" y="1479294"/>
                  <a:pt x="702415" y="1468264"/>
                </a:cubicBezTo>
                <a:cubicBezTo>
                  <a:pt x="702415" y="1450567"/>
                  <a:pt x="688352" y="1437080"/>
                  <a:pt x="669928" y="1437080"/>
                </a:cubicBezTo>
                <a:cubicBezTo>
                  <a:pt x="657494" y="1437080"/>
                  <a:pt x="653157" y="1439938"/>
                  <a:pt x="625758" y="1466259"/>
                </a:cubicBezTo>
                <a:cubicBezTo>
                  <a:pt x="609038" y="1482302"/>
                  <a:pt x="592995" y="1499975"/>
                  <a:pt x="590137" y="1505540"/>
                </a:cubicBezTo>
                <a:cubicBezTo>
                  <a:pt x="583695" y="1517999"/>
                  <a:pt x="586502" y="1532989"/>
                  <a:pt x="597056" y="1542615"/>
                </a:cubicBezTo>
                <a:cubicBezTo>
                  <a:pt x="616884" y="1560614"/>
                  <a:pt x="626736" y="1556854"/>
                  <a:pt x="667847" y="1515517"/>
                </a:cubicBezTo>
                <a:close/>
                <a:moveTo>
                  <a:pt x="545617" y="1460468"/>
                </a:moveTo>
                <a:cubicBezTo>
                  <a:pt x="550881" y="1457711"/>
                  <a:pt x="568378" y="1441943"/>
                  <a:pt x="584472" y="1425424"/>
                </a:cubicBezTo>
                <a:cubicBezTo>
                  <a:pt x="611068" y="1398100"/>
                  <a:pt x="613726" y="1394089"/>
                  <a:pt x="613726" y="1381405"/>
                </a:cubicBezTo>
                <a:cubicBezTo>
                  <a:pt x="613726" y="1359395"/>
                  <a:pt x="594775" y="1344305"/>
                  <a:pt x="573818" y="1349644"/>
                </a:cubicBezTo>
                <a:cubicBezTo>
                  <a:pt x="569431" y="1350772"/>
                  <a:pt x="550981" y="1366640"/>
                  <a:pt x="532807" y="1384914"/>
                </a:cubicBezTo>
                <a:cubicBezTo>
                  <a:pt x="505483" y="1412389"/>
                  <a:pt x="499718" y="1420084"/>
                  <a:pt x="499442" y="1429485"/>
                </a:cubicBezTo>
                <a:cubicBezTo>
                  <a:pt x="498665" y="1457235"/>
                  <a:pt x="521903" y="1472827"/>
                  <a:pt x="545617" y="1460468"/>
                </a:cubicBezTo>
                <a:close/>
                <a:moveTo>
                  <a:pt x="1759621" y="990073"/>
                </a:moveTo>
                <a:cubicBezTo>
                  <a:pt x="1759621" y="887796"/>
                  <a:pt x="1758342" y="826882"/>
                  <a:pt x="1756212" y="826882"/>
                </a:cubicBezTo>
                <a:cubicBezTo>
                  <a:pt x="1754332" y="826882"/>
                  <a:pt x="1629570" y="891757"/>
                  <a:pt x="1478988" y="971021"/>
                </a:cubicBezTo>
                <a:lnTo>
                  <a:pt x="1205174" y="1115186"/>
                </a:lnTo>
                <a:lnTo>
                  <a:pt x="1181735" y="1113080"/>
                </a:lnTo>
                <a:cubicBezTo>
                  <a:pt x="1168850" y="1111927"/>
                  <a:pt x="1116785" y="1099117"/>
                  <a:pt x="1066048" y="1084578"/>
                </a:cubicBezTo>
                <a:cubicBezTo>
                  <a:pt x="957855" y="1053594"/>
                  <a:pt x="950936" y="1052266"/>
                  <a:pt x="923638" y="1057154"/>
                </a:cubicBezTo>
                <a:cubicBezTo>
                  <a:pt x="894509" y="1062368"/>
                  <a:pt x="719487" y="1149152"/>
                  <a:pt x="710512" y="1162814"/>
                </a:cubicBezTo>
                <a:cubicBezTo>
                  <a:pt x="702967" y="1174346"/>
                  <a:pt x="702265" y="1198260"/>
                  <a:pt x="709159" y="1211095"/>
                </a:cubicBezTo>
                <a:cubicBezTo>
                  <a:pt x="715375" y="1222726"/>
                  <a:pt x="735705" y="1232628"/>
                  <a:pt x="748214" y="1230121"/>
                </a:cubicBezTo>
                <a:cubicBezTo>
                  <a:pt x="753428" y="1229093"/>
                  <a:pt x="785766" y="1211471"/>
                  <a:pt x="820058" y="1190990"/>
                </a:cubicBezTo>
                <a:cubicBezTo>
                  <a:pt x="889947" y="1149228"/>
                  <a:pt x="912734" y="1140554"/>
                  <a:pt x="943366" y="1144013"/>
                </a:cubicBezTo>
                <a:cubicBezTo>
                  <a:pt x="981795" y="1148375"/>
                  <a:pt x="996660" y="1159255"/>
                  <a:pt x="1135134" y="1284117"/>
                </a:cubicBezTo>
                <a:lnTo>
                  <a:pt x="1264509" y="1400832"/>
                </a:lnTo>
                <a:lnTo>
                  <a:pt x="1512052" y="1277048"/>
                </a:lnTo>
                <a:lnTo>
                  <a:pt x="1759621" y="1153238"/>
                </a:lnTo>
                <a:close/>
                <a:moveTo>
                  <a:pt x="355954" y="1152712"/>
                </a:moveTo>
                <a:cubicBezTo>
                  <a:pt x="386688" y="1045096"/>
                  <a:pt x="410577" y="955905"/>
                  <a:pt x="409023" y="954502"/>
                </a:cubicBezTo>
                <a:cubicBezTo>
                  <a:pt x="407469" y="953123"/>
                  <a:pt x="392177" y="943798"/>
                  <a:pt x="375056" y="933771"/>
                </a:cubicBezTo>
                <a:cubicBezTo>
                  <a:pt x="354074" y="921512"/>
                  <a:pt x="343370" y="917025"/>
                  <a:pt x="342342" y="920008"/>
                </a:cubicBezTo>
                <a:cubicBezTo>
                  <a:pt x="339710" y="927453"/>
                  <a:pt x="241245" y="1323248"/>
                  <a:pt x="241245" y="1326331"/>
                </a:cubicBezTo>
                <a:cubicBezTo>
                  <a:pt x="241245" y="1328537"/>
                  <a:pt x="287971" y="1346385"/>
                  <a:pt x="298148" y="1348065"/>
                </a:cubicBezTo>
                <a:cubicBezTo>
                  <a:pt x="299201" y="1348240"/>
                  <a:pt x="325221" y="1260328"/>
                  <a:pt x="355954" y="1152712"/>
                </a:cubicBezTo>
                <a:close/>
                <a:moveTo>
                  <a:pt x="187725" y="1296049"/>
                </a:moveTo>
                <a:cubicBezTo>
                  <a:pt x="189655" y="1288729"/>
                  <a:pt x="212918" y="1195753"/>
                  <a:pt x="239440" y="1089391"/>
                </a:cubicBezTo>
                <a:cubicBezTo>
                  <a:pt x="265936" y="983054"/>
                  <a:pt x="288397" y="893512"/>
                  <a:pt x="289324" y="890428"/>
                </a:cubicBezTo>
                <a:cubicBezTo>
                  <a:pt x="291906" y="881805"/>
                  <a:pt x="86827" y="763009"/>
                  <a:pt x="69355" y="763009"/>
                </a:cubicBezTo>
                <a:lnTo>
                  <a:pt x="56696" y="763009"/>
                </a:lnTo>
                <a:lnTo>
                  <a:pt x="57624" y="1015491"/>
                </a:lnTo>
                <a:lnTo>
                  <a:pt x="58526" y="1267973"/>
                </a:lnTo>
                <a:lnTo>
                  <a:pt x="118839" y="1288378"/>
                </a:lnTo>
                <a:cubicBezTo>
                  <a:pt x="152004" y="1299609"/>
                  <a:pt x="180280" y="1308934"/>
                  <a:pt x="181684" y="1309084"/>
                </a:cubicBezTo>
                <a:cubicBezTo>
                  <a:pt x="183062" y="1309235"/>
                  <a:pt x="185770" y="1303369"/>
                  <a:pt x="187700" y="1296049"/>
                </a:cubicBezTo>
                <a:close/>
                <a:moveTo>
                  <a:pt x="1201839" y="999373"/>
                </a:moveTo>
                <a:cubicBezTo>
                  <a:pt x="1202992" y="938759"/>
                  <a:pt x="1199207" y="912588"/>
                  <a:pt x="1186598" y="893512"/>
                </a:cubicBezTo>
                <a:cubicBezTo>
                  <a:pt x="1168850" y="866689"/>
                  <a:pt x="1157169" y="861525"/>
                  <a:pt x="1059003" y="837109"/>
                </a:cubicBezTo>
                <a:lnTo>
                  <a:pt x="968509" y="814599"/>
                </a:lnTo>
                <a:lnTo>
                  <a:pt x="968509" y="767897"/>
                </a:lnTo>
                <a:lnTo>
                  <a:pt x="968509" y="721196"/>
                </a:lnTo>
                <a:lnTo>
                  <a:pt x="986056" y="709916"/>
                </a:lnTo>
                <a:cubicBezTo>
                  <a:pt x="1010121" y="694474"/>
                  <a:pt x="1027543" y="674244"/>
                  <a:pt x="1040729" y="646387"/>
                </a:cubicBezTo>
                <a:cubicBezTo>
                  <a:pt x="1051458" y="623736"/>
                  <a:pt x="1051909" y="620928"/>
                  <a:pt x="1053088" y="568311"/>
                </a:cubicBezTo>
                <a:cubicBezTo>
                  <a:pt x="1054416" y="508058"/>
                  <a:pt x="1051934" y="493261"/>
                  <a:pt x="1034964" y="460680"/>
                </a:cubicBezTo>
                <a:cubicBezTo>
                  <a:pt x="1014859" y="422141"/>
                  <a:pt x="967030" y="387603"/>
                  <a:pt x="926571" y="382441"/>
                </a:cubicBezTo>
                <a:cubicBezTo>
                  <a:pt x="873001" y="375605"/>
                  <a:pt x="815019" y="402972"/>
                  <a:pt x="785840" y="448863"/>
                </a:cubicBezTo>
                <a:cubicBezTo>
                  <a:pt x="765009" y="481597"/>
                  <a:pt x="762001" y="496988"/>
                  <a:pt x="763330" y="563508"/>
                </a:cubicBezTo>
                <a:cubicBezTo>
                  <a:pt x="764483" y="621572"/>
                  <a:pt x="764759" y="623412"/>
                  <a:pt x="775638" y="646387"/>
                </a:cubicBezTo>
                <a:cubicBezTo>
                  <a:pt x="788849" y="674244"/>
                  <a:pt x="806271" y="694474"/>
                  <a:pt x="830336" y="709916"/>
                </a:cubicBezTo>
                <a:lnTo>
                  <a:pt x="847883" y="721196"/>
                </a:lnTo>
                <a:lnTo>
                  <a:pt x="847883" y="767897"/>
                </a:lnTo>
                <a:lnTo>
                  <a:pt x="847883" y="814599"/>
                </a:lnTo>
                <a:lnTo>
                  <a:pt x="757389" y="837109"/>
                </a:lnTo>
                <a:cubicBezTo>
                  <a:pt x="659249" y="861525"/>
                  <a:pt x="647517" y="866714"/>
                  <a:pt x="629819" y="893462"/>
                </a:cubicBezTo>
                <a:cubicBezTo>
                  <a:pt x="621246" y="906447"/>
                  <a:pt x="611921" y="941717"/>
                  <a:pt x="615556" y="947583"/>
                </a:cubicBezTo>
                <a:cubicBezTo>
                  <a:pt x="616533" y="949162"/>
                  <a:pt x="622850" y="948936"/>
                  <a:pt x="629569" y="947082"/>
                </a:cubicBezTo>
                <a:cubicBezTo>
                  <a:pt x="650726" y="941241"/>
                  <a:pt x="720665" y="937731"/>
                  <a:pt x="750320" y="941015"/>
                </a:cubicBezTo>
                <a:cubicBezTo>
                  <a:pt x="785515" y="944926"/>
                  <a:pt x="791531" y="946480"/>
                  <a:pt x="873452" y="972575"/>
                </a:cubicBezTo>
                <a:cubicBezTo>
                  <a:pt x="909951" y="984207"/>
                  <a:pt x="953067" y="996064"/>
                  <a:pt x="969236" y="998922"/>
                </a:cubicBezTo>
                <a:cubicBezTo>
                  <a:pt x="985405" y="1001779"/>
                  <a:pt x="1036969" y="1015266"/>
                  <a:pt x="1083795" y="1028852"/>
                </a:cubicBezTo>
                <a:cubicBezTo>
                  <a:pt x="1142053" y="1045773"/>
                  <a:pt x="1173989" y="1053369"/>
                  <a:pt x="1184894" y="1052867"/>
                </a:cubicBezTo>
                <a:lnTo>
                  <a:pt x="1200862" y="1052165"/>
                </a:lnTo>
                <a:close/>
                <a:moveTo>
                  <a:pt x="1423012" y="934899"/>
                </a:moveTo>
                <a:cubicBezTo>
                  <a:pt x="1508518" y="890128"/>
                  <a:pt x="1578507" y="852626"/>
                  <a:pt x="1578582" y="851599"/>
                </a:cubicBezTo>
                <a:cubicBezTo>
                  <a:pt x="1578657" y="850546"/>
                  <a:pt x="1546771" y="841822"/>
                  <a:pt x="1507741" y="832196"/>
                </a:cubicBezTo>
                <a:lnTo>
                  <a:pt x="1436774" y="814699"/>
                </a:lnTo>
                <a:lnTo>
                  <a:pt x="1436774" y="767872"/>
                </a:lnTo>
                <a:lnTo>
                  <a:pt x="1436774" y="721021"/>
                </a:lnTo>
                <a:lnTo>
                  <a:pt x="1450085" y="712824"/>
                </a:lnTo>
                <a:cubicBezTo>
                  <a:pt x="1482171" y="693020"/>
                  <a:pt x="1505209" y="663942"/>
                  <a:pt x="1516489" y="629040"/>
                </a:cubicBezTo>
                <a:cubicBezTo>
                  <a:pt x="1521428" y="613811"/>
                  <a:pt x="1522305" y="599678"/>
                  <a:pt x="1521352" y="552563"/>
                </a:cubicBezTo>
                <a:lnTo>
                  <a:pt x="1520149" y="494770"/>
                </a:lnTo>
                <a:lnTo>
                  <a:pt x="1506863" y="467920"/>
                </a:lnTo>
                <a:cubicBezTo>
                  <a:pt x="1482974" y="419597"/>
                  <a:pt x="1442815" y="389250"/>
                  <a:pt x="1393482" y="382241"/>
                </a:cubicBezTo>
                <a:cubicBezTo>
                  <a:pt x="1373779" y="379443"/>
                  <a:pt x="1334798" y="386046"/>
                  <a:pt x="1313541" y="395770"/>
                </a:cubicBezTo>
                <a:cubicBezTo>
                  <a:pt x="1287521" y="407687"/>
                  <a:pt x="1258167" y="438092"/>
                  <a:pt x="1244179" y="467596"/>
                </a:cubicBezTo>
                <a:lnTo>
                  <a:pt x="1232798" y="491629"/>
                </a:lnTo>
                <a:lnTo>
                  <a:pt x="1232798" y="557258"/>
                </a:lnTo>
                <a:lnTo>
                  <a:pt x="1232798" y="622891"/>
                </a:lnTo>
                <a:lnTo>
                  <a:pt x="1243878" y="645951"/>
                </a:lnTo>
                <a:cubicBezTo>
                  <a:pt x="1258066" y="675423"/>
                  <a:pt x="1276090" y="696003"/>
                  <a:pt x="1300506" y="710618"/>
                </a:cubicBezTo>
                <a:lnTo>
                  <a:pt x="1319908" y="722224"/>
                </a:lnTo>
                <a:lnTo>
                  <a:pt x="1318931" y="768123"/>
                </a:lnTo>
                <a:lnTo>
                  <a:pt x="1317953" y="814022"/>
                </a:lnTo>
                <a:lnTo>
                  <a:pt x="1270124" y="826004"/>
                </a:lnTo>
                <a:cubicBezTo>
                  <a:pt x="1243803" y="832597"/>
                  <a:pt x="1221693" y="838588"/>
                  <a:pt x="1220966" y="839315"/>
                </a:cubicBezTo>
                <a:cubicBezTo>
                  <a:pt x="1220239" y="840042"/>
                  <a:pt x="1224601" y="847563"/>
                  <a:pt x="1230692" y="856036"/>
                </a:cubicBezTo>
                <a:cubicBezTo>
                  <a:pt x="1252150" y="885941"/>
                  <a:pt x="1256963" y="904592"/>
                  <a:pt x="1258643" y="964529"/>
                </a:cubicBezTo>
                <a:cubicBezTo>
                  <a:pt x="1259645" y="999974"/>
                  <a:pt x="1261450" y="1018349"/>
                  <a:pt x="1263882" y="1017547"/>
                </a:cubicBezTo>
                <a:cubicBezTo>
                  <a:pt x="1265912" y="1016870"/>
                  <a:pt x="1337531" y="979695"/>
                  <a:pt x="1423012" y="934899"/>
                </a:cubicBezTo>
                <a:close/>
                <a:moveTo>
                  <a:pt x="518368" y="971848"/>
                </a:moveTo>
                <a:lnTo>
                  <a:pt x="556070" y="963777"/>
                </a:lnTo>
                <a:lnTo>
                  <a:pt x="557925" y="937004"/>
                </a:lnTo>
                <a:cubicBezTo>
                  <a:pt x="560056" y="906397"/>
                  <a:pt x="569682" y="878321"/>
                  <a:pt x="585675" y="856036"/>
                </a:cubicBezTo>
                <a:cubicBezTo>
                  <a:pt x="591767" y="847563"/>
                  <a:pt x="596153" y="840042"/>
                  <a:pt x="595426" y="839315"/>
                </a:cubicBezTo>
                <a:cubicBezTo>
                  <a:pt x="594699" y="838588"/>
                  <a:pt x="572564" y="832597"/>
                  <a:pt x="546269" y="826004"/>
                </a:cubicBezTo>
                <a:lnTo>
                  <a:pt x="498439" y="814022"/>
                </a:lnTo>
                <a:lnTo>
                  <a:pt x="497462" y="768098"/>
                </a:lnTo>
                <a:lnTo>
                  <a:pt x="496459" y="722174"/>
                </a:lnTo>
                <a:lnTo>
                  <a:pt x="509695" y="715105"/>
                </a:lnTo>
                <a:cubicBezTo>
                  <a:pt x="531930" y="703198"/>
                  <a:pt x="558326" y="674420"/>
                  <a:pt x="571411" y="647801"/>
                </a:cubicBezTo>
                <a:cubicBezTo>
                  <a:pt x="583394" y="623432"/>
                  <a:pt x="583594" y="622196"/>
                  <a:pt x="584823" y="569271"/>
                </a:cubicBezTo>
                <a:cubicBezTo>
                  <a:pt x="586577" y="494659"/>
                  <a:pt x="578430" y="467466"/>
                  <a:pt x="542659" y="428325"/>
                </a:cubicBezTo>
                <a:cubicBezTo>
                  <a:pt x="489289" y="369935"/>
                  <a:pt x="398770" y="366561"/>
                  <a:pt x="340788" y="420802"/>
                </a:cubicBezTo>
                <a:cubicBezTo>
                  <a:pt x="303262" y="455900"/>
                  <a:pt x="294538" y="481704"/>
                  <a:pt x="294488" y="557589"/>
                </a:cubicBezTo>
                <a:cubicBezTo>
                  <a:pt x="294463" y="603358"/>
                  <a:pt x="295642" y="616398"/>
                  <a:pt x="301407" y="633116"/>
                </a:cubicBezTo>
                <a:cubicBezTo>
                  <a:pt x="312562" y="665546"/>
                  <a:pt x="332993" y="691291"/>
                  <a:pt x="362748" y="710367"/>
                </a:cubicBezTo>
                <a:lnTo>
                  <a:pt x="379593" y="721196"/>
                </a:lnTo>
                <a:lnTo>
                  <a:pt x="379593" y="768073"/>
                </a:lnTo>
                <a:lnTo>
                  <a:pt x="379593" y="814950"/>
                </a:lnTo>
                <a:lnTo>
                  <a:pt x="352094" y="821342"/>
                </a:lnTo>
                <a:cubicBezTo>
                  <a:pt x="336978" y="824851"/>
                  <a:pt x="322715" y="828737"/>
                  <a:pt x="320383" y="829990"/>
                </a:cubicBezTo>
                <a:cubicBezTo>
                  <a:pt x="318077" y="831219"/>
                  <a:pt x="350490" y="852175"/>
                  <a:pt x="392428" y="876566"/>
                </a:cubicBezTo>
                <a:lnTo>
                  <a:pt x="468684" y="920886"/>
                </a:lnTo>
                <a:lnTo>
                  <a:pt x="467581" y="952095"/>
                </a:lnTo>
                <a:cubicBezTo>
                  <a:pt x="466553" y="981775"/>
                  <a:pt x="466854" y="983229"/>
                  <a:pt x="473597" y="981625"/>
                </a:cubicBezTo>
                <a:cubicBezTo>
                  <a:pt x="477508" y="980697"/>
                  <a:pt x="497662" y="976311"/>
                  <a:pt x="518368" y="971848"/>
                </a:cubicBezTo>
                <a:close/>
                <a:moveTo>
                  <a:pt x="735229" y="782286"/>
                </a:moveTo>
                <a:cubicBezTo>
                  <a:pt x="781830" y="770856"/>
                  <a:pt x="791105" y="767496"/>
                  <a:pt x="791105" y="762132"/>
                </a:cubicBezTo>
                <a:cubicBezTo>
                  <a:pt x="791105" y="758572"/>
                  <a:pt x="781128" y="746339"/>
                  <a:pt x="768945" y="734934"/>
                </a:cubicBezTo>
                <a:cubicBezTo>
                  <a:pt x="743401" y="711044"/>
                  <a:pt x="723146" y="679007"/>
                  <a:pt x="712643" y="645951"/>
                </a:cubicBezTo>
                <a:cubicBezTo>
                  <a:pt x="702340" y="613453"/>
                  <a:pt x="699407" y="527408"/>
                  <a:pt x="707329" y="489854"/>
                </a:cubicBezTo>
                <a:cubicBezTo>
                  <a:pt x="722795" y="416533"/>
                  <a:pt x="776891" y="354631"/>
                  <a:pt x="844073" y="333371"/>
                </a:cubicBezTo>
                <a:cubicBezTo>
                  <a:pt x="931509" y="305706"/>
                  <a:pt x="1023758" y="337750"/>
                  <a:pt x="1074320" y="413357"/>
                </a:cubicBezTo>
                <a:cubicBezTo>
                  <a:pt x="1106557" y="461553"/>
                  <a:pt x="1116383" y="503461"/>
                  <a:pt x="1112899" y="577894"/>
                </a:cubicBezTo>
                <a:cubicBezTo>
                  <a:pt x="1109540" y="649260"/>
                  <a:pt x="1094549" y="686302"/>
                  <a:pt x="1050982" y="730722"/>
                </a:cubicBezTo>
                <a:cubicBezTo>
                  <a:pt x="1036844" y="745136"/>
                  <a:pt x="1025262" y="759550"/>
                  <a:pt x="1025262" y="762733"/>
                </a:cubicBezTo>
                <a:cubicBezTo>
                  <a:pt x="1025262" y="767246"/>
                  <a:pt x="1037972" y="771658"/>
                  <a:pt x="1083795" y="783038"/>
                </a:cubicBezTo>
                <a:lnTo>
                  <a:pt x="1142329" y="797578"/>
                </a:lnTo>
                <a:lnTo>
                  <a:pt x="1200862" y="783038"/>
                </a:lnTo>
                <a:cubicBezTo>
                  <a:pt x="1248315" y="771257"/>
                  <a:pt x="1259395" y="767346"/>
                  <a:pt x="1259395" y="762383"/>
                </a:cubicBezTo>
                <a:cubicBezTo>
                  <a:pt x="1259395" y="759024"/>
                  <a:pt x="1247813" y="744610"/>
                  <a:pt x="1233675" y="730371"/>
                </a:cubicBezTo>
                <a:cubicBezTo>
                  <a:pt x="1191110" y="687530"/>
                  <a:pt x="1175744" y="649232"/>
                  <a:pt x="1172059" y="576771"/>
                </a:cubicBezTo>
                <a:cubicBezTo>
                  <a:pt x="1169602" y="528581"/>
                  <a:pt x="1174039" y="488267"/>
                  <a:pt x="1185370" y="455837"/>
                </a:cubicBezTo>
                <a:lnTo>
                  <a:pt x="1192915" y="434239"/>
                </a:lnTo>
                <a:lnTo>
                  <a:pt x="1176120" y="408752"/>
                </a:lnTo>
                <a:cubicBezTo>
                  <a:pt x="1144259" y="360409"/>
                  <a:pt x="1097457" y="320684"/>
                  <a:pt x="1041356" y="294398"/>
                </a:cubicBezTo>
                <a:cubicBezTo>
                  <a:pt x="989616" y="270148"/>
                  <a:pt x="933389" y="260595"/>
                  <a:pt x="877137" y="266488"/>
                </a:cubicBezTo>
                <a:cubicBezTo>
                  <a:pt x="835023" y="270900"/>
                  <a:pt x="809605" y="278059"/>
                  <a:pt x="770900" y="296386"/>
                </a:cubicBezTo>
                <a:cubicBezTo>
                  <a:pt x="712417" y="324089"/>
                  <a:pt x="665190" y="366568"/>
                  <a:pt x="632627" y="420725"/>
                </a:cubicBezTo>
                <a:lnTo>
                  <a:pt x="621923" y="438513"/>
                </a:lnTo>
                <a:lnTo>
                  <a:pt x="630070" y="460286"/>
                </a:lnTo>
                <a:cubicBezTo>
                  <a:pt x="641576" y="491085"/>
                  <a:pt x="647041" y="537683"/>
                  <a:pt x="644308" y="582093"/>
                </a:cubicBezTo>
                <a:cubicBezTo>
                  <a:pt x="640147" y="650004"/>
                  <a:pt x="624028" y="688784"/>
                  <a:pt x="582692" y="730371"/>
                </a:cubicBezTo>
                <a:cubicBezTo>
                  <a:pt x="568554" y="744610"/>
                  <a:pt x="556973" y="759024"/>
                  <a:pt x="556973" y="762408"/>
                </a:cubicBezTo>
                <a:cubicBezTo>
                  <a:pt x="556973" y="767396"/>
                  <a:pt x="567927" y="771332"/>
                  <a:pt x="614628" y="783164"/>
                </a:cubicBezTo>
                <a:cubicBezTo>
                  <a:pt x="646339" y="791210"/>
                  <a:pt x="673863" y="797377"/>
                  <a:pt x="675818" y="796901"/>
                </a:cubicBezTo>
                <a:cubicBezTo>
                  <a:pt x="677774" y="796399"/>
                  <a:pt x="704521" y="789832"/>
                  <a:pt x="735229" y="782286"/>
                </a:cubicBezTo>
                <a:close/>
                <a:moveTo>
                  <a:pt x="599537" y="364916"/>
                </a:moveTo>
                <a:cubicBezTo>
                  <a:pt x="606381" y="354746"/>
                  <a:pt x="624730" y="333592"/>
                  <a:pt x="640347" y="317907"/>
                </a:cubicBezTo>
                <a:cubicBezTo>
                  <a:pt x="693290" y="264701"/>
                  <a:pt x="760096" y="228656"/>
                  <a:pt x="835450" y="212610"/>
                </a:cubicBezTo>
                <a:cubicBezTo>
                  <a:pt x="864403" y="206451"/>
                  <a:pt x="949909" y="206574"/>
                  <a:pt x="980893" y="212818"/>
                </a:cubicBezTo>
                <a:cubicBezTo>
                  <a:pt x="1071487" y="231072"/>
                  <a:pt x="1161079" y="287961"/>
                  <a:pt x="1213270" y="360364"/>
                </a:cubicBezTo>
                <a:cubicBezTo>
                  <a:pt x="1221693" y="372073"/>
                  <a:pt x="1229038" y="382223"/>
                  <a:pt x="1229614" y="382923"/>
                </a:cubicBezTo>
                <a:cubicBezTo>
                  <a:pt x="1230166" y="383622"/>
                  <a:pt x="1238288" y="377866"/>
                  <a:pt x="1247663" y="370131"/>
                </a:cubicBezTo>
                <a:cubicBezTo>
                  <a:pt x="1257039" y="362395"/>
                  <a:pt x="1271853" y="352245"/>
                  <a:pt x="1280552" y="347572"/>
                </a:cubicBezTo>
                <a:cubicBezTo>
                  <a:pt x="1295191" y="339716"/>
                  <a:pt x="1297523" y="336422"/>
                  <a:pt x="1311460" y="303603"/>
                </a:cubicBezTo>
                <a:cubicBezTo>
                  <a:pt x="1319733" y="284091"/>
                  <a:pt x="1326576" y="265708"/>
                  <a:pt x="1326651" y="262753"/>
                </a:cubicBezTo>
                <a:cubicBezTo>
                  <a:pt x="1326727" y="259800"/>
                  <a:pt x="1306447" y="237066"/>
                  <a:pt x="1281555" y="212237"/>
                </a:cubicBezTo>
                <a:lnTo>
                  <a:pt x="1236307" y="167092"/>
                </a:lnTo>
                <a:lnTo>
                  <a:pt x="1215050" y="181378"/>
                </a:lnTo>
                <a:cubicBezTo>
                  <a:pt x="1203343" y="189234"/>
                  <a:pt x="1184743" y="201219"/>
                  <a:pt x="1173688" y="208013"/>
                </a:cubicBezTo>
                <a:lnTo>
                  <a:pt x="1153609" y="220361"/>
                </a:lnTo>
                <a:lnTo>
                  <a:pt x="1116108" y="200520"/>
                </a:lnTo>
                <a:cubicBezTo>
                  <a:pt x="1079634" y="181213"/>
                  <a:pt x="1032256" y="162891"/>
                  <a:pt x="1006161" y="157992"/>
                </a:cubicBezTo>
                <a:cubicBezTo>
                  <a:pt x="996986" y="156273"/>
                  <a:pt x="992775" y="153385"/>
                  <a:pt x="991546" y="147993"/>
                </a:cubicBezTo>
                <a:cubicBezTo>
                  <a:pt x="990594" y="143824"/>
                  <a:pt x="986608" y="125247"/>
                  <a:pt x="982698" y="106709"/>
                </a:cubicBezTo>
                <a:cubicBezTo>
                  <a:pt x="978762" y="88174"/>
                  <a:pt x="974726" y="69416"/>
                  <a:pt x="973723" y="65024"/>
                </a:cubicBezTo>
                <a:cubicBezTo>
                  <a:pt x="971918" y="57110"/>
                  <a:pt x="971367" y="57042"/>
                  <a:pt x="908196" y="57042"/>
                </a:cubicBezTo>
                <a:cubicBezTo>
                  <a:pt x="845026" y="57042"/>
                  <a:pt x="844449" y="57112"/>
                  <a:pt x="842619" y="65024"/>
                </a:cubicBezTo>
                <a:cubicBezTo>
                  <a:pt x="841591" y="69416"/>
                  <a:pt x="836903" y="91094"/>
                  <a:pt x="832216" y="113202"/>
                </a:cubicBezTo>
                <a:cubicBezTo>
                  <a:pt x="827503" y="135309"/>
                  <a:pt x="823116" y="153733"/>
                  <a:pt x="822464" y="154147"/>
                </a:cubicBezTo>
                <a:cubicBezTo>
                  <a:pt x="821813" y="154561"/>
                  <a:pt x="803714" y="160133"/>
                  <a:pt x="782256" y="166530"/>
                </a:cubicBezTo>
                <a:cubicBezTo>
                  <a:pt x="759419" y="173334"/>
                  <a:pt x="726505" y="186916"/>
                  <a:pt x="702917" y="199249"/>
                </a:cubicBezTo>
                <a:lnTo>
                  <a:pt x="662633" y="220333"/>
                </a:lnTo>
                <a:lnTo>
                  <a:pt x="649698" y="212520"/>
                </a:lnTo>
                <a:cubicBezTo>
                  <a:pt x="642604" y="208223"/>
                  <a:pt x="625282" y="197025"/>
                  <a:pt x="611244" y="187638"/>
                </a:cubicBezTo>
                <a:cubicBezTo>
                  <a:pt x="597181" y="178247"/>
                  <a:pt x="583594" y="170566"/>
                  <a:pt x="581037" y="170566"/>
                </a:cubicBezTo>
                <a:cubicBezTo>
                  <a:pt x="578481" y="170566"/>
                  <a:pt x="556170" y="190921"/>
                  <a:pt x="531453" y="215799"/>
                </a:cubicBezTo>
                <a:lnTo>
                  <a:pt x="486532" y="261031"/>
                </a:lnTo>
                <a:lnTo>
                  <a:pt x="503027" y="300472"/>
                </a:lnTo>
                <a:cubicBezTo>
                  <a:pt x="518168" y="336740"/>
                  <a:pt x="520674" y="340535"/>
                  <a:pt x="534061" y="347637"/>
                </a:cubicBezTo>
                <a:cubicBezTo>
                  <a:pt x="542057" y="351886"/>
                  <a:pt x="556271" y="361675"/>
                  <a:pt x="565596" y="369394"/>
                </a:cubicBezTo>
                <a:cubicBezTo>
                  <a:pt x="574946" y="377109"/>
                  <a:pt x="583594" y="383421"/>
                  <a:pt x="584848" y="383419"/>
                </a:cubicBezTo>
                <a:cubicBezTo>
                  <a:pt x="586101" y="383414"/>
                  <a:pt x="592719" y="375089"/>
                  <a:pt x="599537" y="364916"/>
                </a:cubicBezTo>
                <a:close/>
              </a:path>
            </a:pathLst>
          </a:custGeom>
          <a:solidFill>
            <a:srgbClr val="509AAF"/>
          </a:solidFill>
          <a:ln w="353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4ED6B13-CC51-4007-AA04-2635B8E4FCDC}"/>
              </a:ext>
            </a:extLst>
          </p:cNvPr>
          <p:cNvSpPr/>
          <p:nvPr/>
        </p:nvSpPr>
        <p:spPr>
          <a:xfrm>
            <a:off x="5483211" y="4351349"/>
            <a:ext cx="457200" cy="457200"/>
          </a:xfrm>
          <a:custGeom>
            <a:avLst/>
            <a:gdLst>
              <a:gd name="connsiteX0" fmla="*/ 1119245 w 1734660"/>
              <a:gd name="connsiteY0" fmla="*/ 1599005 h 1655880"/>
              <a:gd name="connsiteX1" fmla="*/ 1119245 w 1734660"/>
              <a:gd name="connsiteY1" fmla="*/ 1541575 h 1655880"/>
              <a:gd name="connsiteX2" fmla="*/ 559608 w 1734660"/>
              <a:gd name="connsiteY2" fmla="*/ 1541575 h 1655880"/>
              <a:gd name="connsiteX3" fmla="*/ -54 w 1734660"/>
              <a:gd name="connsiteY3" fmla="*/ 1541575 h 1655880"/>
              <a:gd name="connsiteX4" fmla="*/ 1124 w 1734660"/>
              <a:gd name="connsiteY4" fmla="*/ 1343063 h 1655880"/>
              <a:gd name="connsiteX5" fmla="*/ 10073 w 1734660"/>
              <a:gd name="connsiteY5" fmla="*/ 1117680 h 1655880"/>
              <a:gd name="connsiteX6" fmla="*/ 146868 w 1734660"/>
              <a:gd name="connsiteY6" fmla="*/ 940050 h 1655880"/>
              <a:gd name="connsiteX7" fmla="*/ 165167 w 1734660"/>
              <a:gd name="connsiteY7" fmla="*/ 903175 h 1655880"/>
              <a:gd name="connsiteX8" fmla="*/ 173114 w 1734660"/>
              <a:gd name="connsiteY8" fmla="*/ 764701 h 1655880"/>
              <a:gd name="connsiteX9" fmla="*/ 196126 w 1734660"/>
              <a:gd name="connsiteY9" fmla="*/ 720030 h 1655880"/>
              <a:gd name="connsiteX10" fmla="*/ 169253 w 1734660"/>
              <a:gd name="connsiteY10" fmla="*/ 673354 h 1655880"/>
              <a:gd name="connsiteX11" fmla="*/ 144837 w 1734660"/>
              <a:gd name="connsiteY11" fmla="*/ 632870 h 1655880"/>
              <a:gd name="connsiteX12" fmla="*/ 168175 w 1734660"/>
              <a:gd name="connsiteY12" fmla="*/ 536334 h 1655880"/>
              <a:gd name="connsiteX13" fmla="*/ 187026 w 1734660"/>
              <a:gd name="connsiteY13" fmla="*/ 513046 h 1655880"/>
              <a:gd name="connsiteX14" fmla="*/ 196126 w 1734660"/>
              <a:gd name="connsiteY14" fmla="*/ 499911 h 1655880"/>
              <a:gd name="connsiteX15" fmla="*/ 196126 w 1734660"/>
              <a:gd name="connsiteY15" fmla="*/ 392420 h 1655880"/>
              <a:gd name="connsiteX16" fmla="*/ 199987 w 1734660"/>
              <a:gd name="connsiteY16" fmla="*/ 267032 h 1655880"/>
              <a:gd name="connsiteX17" fmla="*/ 294868 w 1734660"/>
              <a:gd name="connsiteY17" fmla="*/ 149564 h 1655880"/>
              <a:gd name="connsiteX18" fmla="*/ 350819 w 1734660"/>
              <a:gd name="connsiteY18" fmla="*/ 107175 h 1655880"/>
              <a:gd name="connsiteX19" fmla="*/ 520903 w 1734660"/>
              <a:gd name="connsiteY19" fmla="*/ 11742 h 1655880"/>
              <a:gd name="connsiteX20" fmla="*/ 610470 w 1734660"/>
              <a:gd name="connsiteY20" fmla="*/ 3069 h 1655880"/>
              <a:gd name="connsiteX21" fmla="*/ 701391 w 1734660"/>
              <a:gd name="connsiteY21" fmla="*/ 11967 h 1655880"/>
              <a:gd name="connsiteX22" fmla="*/ 967786 w 1734660"/>
              <a:gd name="connsiteY22" fmla="*/ 269388 h 1655880"/>
              <a:gd name="connsiteX23" fmla="*/ 978540 w 1734660"/>
              <a:gd name="connsiteY23" fmla="*/ 401169 h 1655880"/>
              <a:gd name="connsiteX24" fmla="*/ 1003006 w 1734660"/>
              <a:gd name="connsiteY24" fmla="*/ 531245 h 1655880"/>
              <a:gd name="connsiteX25" fmla="*/ 1006264 w 1734660"/>
              <a:gd name="connsiteY25" fmla="*/ 673354 h 1655880"/>
              <a:gd name="connsiteX26" fmla="*/ 979392 w 1734660"/>
              <a:gd name="connsiteY26" fmla="*/ 720030 h 1655880"/>
              <a:gd name="connsiteX27" fmla="*/ 1002379 w 1734660"/>
              <a:gd name="connsiteY27" fmla="*/ 764701 h 1655880"/>
              <a:gd name="connsiteX28" fmla="*/ 1010852 w 1734660"/>
              <a:gd name="connsiteY28" fmla="*/ 902548 h 1655880"/>
              <a:gd name="connsiteX29" fmla="*/ 996864 w 1734660"/>
              <a:gd name="connsiteY29" fmla="*/ 921099 h 1655880"/>
              <a:gd name="connsiteX30" fmla="*/ 1037022 w 1734660"/>
              <a:gd name="connsiteY30" fmla="*/ 942857 h 1655880"/>
              <a:gd name="connsiteX31" fmla="*/ 1047601 w 1734660"/>
              <a:gd name="connsiteY31" fmla="*/ 923229 h 1655880"/>
              <a:gd name="connsiteX32" fmla="*/ 1168954 w 1734660"/>
              <a:gd name="connsiteY32" fmla="*/ 790470 h 1655880"/>
              <a:gd name="connsiteX33" fmla="*/ 1281859 w 1734660"/>
              <a:gd name="connsiteY33" fmla="*/ 742240 h 1655880"/>
              <a:gd name="connsiteX34" fmla="*/ 1697030 w 1734660"/>
              <a:gd name="connsiteY34" fmla="*/ 928293 h 1655880"/>
              <a:gd name="connsiteX35" fmla="*/ 1732476 w 1734660"/>
              <a:gd name="connsiteY35" fmla="*/ 1085417 h 1655880"/>
              <a:gd name="connsiteX36" fmla="*/ 1723176 w 1734660"/>
              <a:gd name="connsiteY36" fmla="*/ 1167188 h 1655880"/>
              <a:gd name="connsiteX37" fmla="*/ 1636943 w 1734660"/>
              <a:gd name="connsiteY37" fmla="*/ 1320101 h 1655880"/>
              <a:gd name="connsiteX38" fmla="*/ 1622780 w 1734660"/>
              <a:gd name="connsiteY38" fmla="*/ 1333437 h 1655880"/>
              <a:gd name="connsiteX39" fmla="*/ 1622780 w 1734660"/>
              <a:gd name="connsiteY39" fmla="*/ 1494949 h 1655880"/>
              <a:gd name="connsiteX40" fmla="*/ 1620173 w 1734660"/>
              <a:gd name="connsiteY40" fmla="*/ 1656360 h 1655880"/>
              <a:gd name="connsiteX41" fmla="*/ 1494283 w 1734660"/>
              <a:gd name="connsiteY41" fmla="*/ 1626353 h 1655880"/>
              <a:gd name="connsiteX42" fmla="*/ 1371025 w 1734660"/>
              <a:gd name="connsiteY42" fmla="*/ 1596448 h 1655880"/>
              <a:gd name="connsiteX43" fmla="*/ 1247767 w 1734660"/>
              <a:gd name="connsiteY43" fmla="*/ 1626353 h 1655880"/>
              <a:gd name="connsiteX44" fmla="*/ 1121877 w 1734660"/>
              <a:gd name="connsiteY44" fmla="*/ 1656360 h 1655880"/>
              <a:gd name="connsiteX45" fmla="*/ 1119245 w 1734660"/>
              <a:gd name="connsiteY45" fmla="*/ 1599005 h 1655880"/>
              <a:gd name="connsiteX46" fmla="*/ 1468939 w 1734660"/>
              <a:gd name="connsiteY46" fmla="*/ 1564386 h 1655880"/>
              <a:gd name="connsiteX47" fmla="*/ 1566828 w 1734660"/>
              <a:gd name="connsiteY47" fmla="*/ 1588050 h 1655880"/>
              <a:gd name="connsiteX48" fmla="*/ 1566828 w 1734660"/>
              <a:gd name="connsiteY48" fmla="*/ 1483443 h 1655880"/>
              <a:gd name="connsiteX49" fmla="*/ 1564222 w 1734660"/>
              <a:gd name="connsiteY49" fmla="*/ 1380113 h 1655880"/>
              <a:gd name="connsiteX50" fmla="*/ 1459414 w 1734660"/>
              <a:gd name="connsiteY50" fmla="*/ 1422302 h 1655880"/>
              <a:gd name="connsiteX51" fmla="*/ 1371025 w 1734660"/>
              <a:gd name="connsiteY51" fmla="*/ 1431101 h 1655880"/>
              <a:gd name="connsiteX52" fmla="*/ 1177828 w 1734660"/>
              <a:gd name="connsiteY52" fmla="*/ 1380113 h 1655880"/>
              <a:gd name="connsiteX53" fmla="*/ 1175196 w 1734660"/>
              <a:gd name="connsiteY53" fmla="*/ 1483443 h 1655880"/>
              <a:gd name="connsiteX54" fmla="*/ 1175196 w 1734660"/>
              <a:gd name="connsiteY54" fmla="*/ 1588050 h 1655880"/>
              <a:gd name="connsiteX55" fmla="*/ 1273110 w 1734660"/>
              <a:gd name="connsiteY55" fmla="*/ 1564386 h 1655880"/>
              <a:gd name="connsiteX56" fmla="*/ 1371025 w 1734660"/>
              <a:gd name="connsiteY56" fmla="*/ 1540722 h 1655880"/>
              <a:gd name="connsiteX57" fmla="*/ 224077 w 1734660"/>
              <a:gd name="connsiteY57" fmla="*/ 1298292 h 1655880"/>
              <a:gd name="connsiteX58" fmla="*/ 224077 w 1734660"/>
              <a:gd name="connsiteY58" fmla="*/ 1109056 h 1655880"/>
              <a:gd name="connsiteX59" fmla="*/ 252052 w 1734660"/>
              <a:gd name="connsiteY59" fmla="*/ 1109056 h 1655880"/>
              <a:gd name="connsiteX60" fmla="*/ 280028 w 1734660"/>
              <a:gd name="connsiteY60" fmla="*/ 1109056 h 1655880"/>
              <a:gd name="connsiteX61" fmla="*/ 280028 w 1734660"/>
              <a:gd name="connsiteY61" fmla="*/ 1298292 h 1655880"/>
              <a:gd name="connsiteX62" fmla="*/ 280028 w 1734660"/>
              <a:gd name="connsiteY62" fmla="*/ 1487503 h 1655880"/>
              <a:gd name="connsiteX63" fmla="*/ 391930 w 1734660"/>
              <a:gd name="connsiteY63" fmla="*/ 1487503 h 1655880"/>
              <a:gd name="connsiteX64" fmla="*/ 503832 w 1734660"/>
              <a:gd name="connsiteY64" fmla="*/ 1487503 h 1655880"/>
              <a:gd name="connsiteX65" fmla="*/ 503832 w 1734660"/>
              <a:gd name="connsiteY65" fmla="*/ 1359608 h 1655880"/>
              <a:gd name="connsiteX66" fmla="*/ 503832 w 1734660"/>
              <a:gd name="connsiteY66" fmla="*/ 1231712 h 1655880"/>
              <a:gd name="connsiteX67" fmla="*/ 524814 w 1734660"/>
              <a:gd name="connsiteY67" fmla="*/ 1214090 h 1655880"/>
              <a:gd name="connsiteX68" fmla="*/ 545796 w 1734660"/>
              <a:gd name="connsiteY68" fmla="*/ 1196442 h 1655880"/>
              <a:gd name="connsiteX69" fmla="*/ 521229 w 1734660"/>
              <a:gd name="connsiteY69" fmla="*/ 1170497 h 1655880"/>
              <a:gd name="connsiteX70" fmla="*/ 379471 w 1734660"/>
              <a:gd name="connsiteY70" fmla="*/ 914054 h 1655880"/>
              <a:gd name="connsiteX71" fmla="*/ 359743 w 1734660"/>
              <a:gd name="connsiteY71" fmla="*/ 916235 h 1655880"/>
              <a:gd name="connsiteX72" fmla="*/ 186851 w 1734660"/>
              <a:gd name="connsiteY72" fmla="*/ 979231 h 1655880"/>
              <a:gd name="connsiteX73" fmla="*/ 80464 w 1734660"/>
              <a:gd name="connsiteY73" fmla="*/ 1090481 h 1655880"/>
              <a:gd name="connsiteX74" fmla="*/ 56248 w 1734660"/>
              <a:gd name="connsiteY74" fmla="*/ 1328549 h 1655880"/>
              <a:gd name="connsiteX75" fmla="*/ 56248 w 1734660"/>
              <a:gd name="connsiteY75" fmla="*/ 1487503 h 1655880"/>
              <a:gd name="connsiteX76" fmla="*/ 140175 w 1734660"/>
              <a:gd name="connsiteY76" fmla="*/ 1487503 h 1655880"/>
              <a:gd name="connsiteX77" fmla="*/ 224077 w 1734660"/>
              <a:gd name="connsiteY77" fmla="*/ 1487503 h 1655880"/>
              <a:gd name="connsiteX78" fmla="*/ 895465 w 1734660"/>
              <a:gd name="connsiteY78" fmla="*/ 1311804 h 1655880"/>
              <a:gd name="connsiteX79" fmla="*/ 895465 w 1734660"/>
              <a:gd name="connsiteY79" fmla="*/ 1136104 h 1655880"/>
              <a:gd name="connsiteX80" fmla="*/ 923440 w 1734660"/>
              <a:gd name="connsiteY80" fmla="*/ 1136104 h 1655880"/>
              <a:gd name="connsiteX81" fmla="*/ 951416 w 1734660"/>
              <a:gd name="connsiteY81" fmla="*/ 1136104 h 1655880"/>
              <a:gd name="connsiteX82" fmla="*/ 951416 w 1734660"/>
              <a:gd name="connsiteY82" fmla="*/ 1311804 h 1655880"/>
              <a:gd name="connsiteX83" fmla="*/ 951416 w 1734660"/>
              <a:gd name="connsiteY83" fmla="*/ 1487503 h 1655880"/>
              <a:gd name="connsiteX84" fmla="*/ 1035343 w 1734660"/>
              <a:gd name="connsiteY84" fmla="*/ 1487503 h 1655880"/>
              <a:gd name="connsiteX85" fmla="*/ 1119245 w 1734660"/>
              <a:gd name="connsiteY85" fmla="*/ 1487503 h 1655880"/>
              <a:gd name="connsiteX86" fmla="*/ 1119245 w 1734660"/>
              <a:gd name="connsiteY86" fmla="*/ 1410470 h 1655880"/>
              <a:gd name="connsiteX87" fmla="*/ 1119245 w 1734660"/>
              <a:gd name="connsiteY87" fmla="*/ 1333437 h 1655880"/>
              <a:gd name="connsiteX88" fmla="*/ 1105106 w 1734660"/>
              <a:gd name="connsiteY88" fmla="*/ 1320101 h 1655880"/>
              <a:gd name="connsiteX89" fmla="*/ 1013810 w 1734660"/>
              <a:gd name="connsiteY89" fmla="*/ 1147911 h 1655880"/>
              <a:gd name="connsiteX90" fmla="*/ 1013609 w 1734660"/>
              <a:gd name="connsiteY90" fmla="*/ 1018236 h 1655880"/>
              <a:gd name="connsiteX91" fmla="*/ 988466 w 1734660"/>
              <a:gd name="connsiteY91" fmla="*/ 979130 h 1655880"/>
              <a:gd name="connsiteX92" fmla="*/ 815750 w 1734660"/>
              <a:gd name="connsiteY92" fmla="*/ 916235 h 1655880"/>
              <a:gd name="connsiteX93" fmla="*/ 796021 w 1734660"/>
              <a:gd name="connsiteY93" fmla="*/ 914054 h 1655880"/>
              <a:gd name="connsiteX94" fmla="*/ 591694 w 1734660"/>
              <a:gd name="connsiteY94" fmla="*/ 1228830 h 1655880"/>
              <a:gd name="connsiteX95" fmla="*/ 559758 w 1734660"/>
              <a:gd name="connsiteY95" fmla="*/ 1255702 h 1655880"/>
              <a:gd name="connsiteX96" fmla="*/ 559758 w 1734660"/>
              <a:gd name="connsiteY96" fmla="*/ 1371590 h 1655880"/>
              <a:gd name="connsiteX97" fmla="*/ 559758 w 1734660"/>
              <a:gd name="connsiteY97" fmla="*/ 1487503 h 1655880"/>
              <a:gd name="connsiteX98" fmla="*/ 727612 w 1734660"/>
              <a:gd name="connsiteY98" fmla="*/ 1487503 h 1655880"/>
              <a:gd name="connsiteX99" fmla="*/ 895440 w 1734660"/>
              <a:gd name="connsiteY99" fmla="*/ 1487503 h 1655880"/>
              <a:gd name="connsiteX100" fmla="*/ 615734 w 1734660"/>
              <a:gd name="connsiteY100" fmla="*/ 1406410 h 1655880"/>
              <a:gd name="connsiteX101" fmla="*/ 615734 w 1734660"/>
              <a:gd name="connsiteY101" fmla="*/ 1379387 h 1655880"/>
              <a:gd name="connsiteX102" fmla="*/ 643710 w 1734660"/>
              <a:gd name="connsiteY102" fmla="*/ 1379387 h 1655880"/>
              <a:gd name="connsiteX103" fmla="*/ 671661 w 1734660"/>
              <a:gd name="connsiteY103" fmla="*/ 1379387 h 1655880"/>
              <a:gd name="connsiteX104" fmla="*/ 671661 w 1734660"/>
              <a:gd name="connsiteY104" fmla="*/ 1406410 h 1655880"/>
              <a:gd name="connsiteX105" fmla="*/ 671661 w 1734660"/>
              <a:gd name="connsiteY105" fmla="*/ 1433432 h 1655880"/>
              <a:gd name="connsiteX106" fmla="*/ 643710 w 1734660"/>
              <a:gd name="connsiteY106" fmla="*/ 1433432 h 1655880"/>
              <a:gd name="connsiteX107" fmla="*/ 615734 w 1734660"/>
              <a:gd name="connsiteY107" fmla="*/ 1433432 h 1655880"/>
              <a:gd name="connsiteX108" fmla="*/ 615734 w 1734660"/>
              <a:gd name="connsiteY108" fmla="*/ 1298292 h 1655880"/>
              <a:gd name="connsiteX109" fmla="*/ 615734 w 1734660"/>
              <a:gd name="connsiteY109" fmla="*/ 1271244 h 1655880"/>
              <a:gd name="connsiteX110" fmla="*/ 643710 w 1734660"/>
              <a:gd name="connsiteY110" fmla="*/ 1271244 h 1655880"/>
              <a:gd name="connsiteX111" fmla="*/ 671661 w 1734660"/>
              <a:gd name="connsiteY111" fmla="*/ 1271244 h 1655880"/>
              <a:gd name="connsiteX112" fmla="*/ 671661 w 1734660"/>
              <a:gd name="connsiteY112" fmla="*/ 1298292 h 1655880"/>
              <a:gd name="connsiteX113" fmla="*/ 671661 w 1734660"/>
              <a:gd name="connsiteY113" fmla="*/ 1325316 h 1655880"/>
              <a:gd name="connsiteX114" fmla="*/ 643710 w 1734660"/>
              <a:gd name="connsiteY114" fmla="*/ 1325316 h 1655880"/>
              <a:gd name="connsiteX115" fmla="*/ 615734 w 1734660"/>
              <a:gd name="connsiteY115" fmla="*/ 1325316 h 1655880"/>
              <a:gd name="connsiteX116" fmla="*/ 1427452 w 1734660"/>
              <a:gd name="connsiteY116" fmla="*/ 1374022 h 1655880"/>
              <a:gd name="connsiteX117" fmla="*/ 1589640 w 1734660"/>
              <a:gd name="connsiteY117" fmla="*/ 1290246 h 1655880"/>
              <a:gd name="connsiteX118" fmla="*/ 1672113 w 1734660"/>
              <a:gd name="connsiteY118" fmla="*/ 1022898 h 1655880"/>
              <a:gd name="connsiteX119" fmla="*/ 1587961 w 1734660"/>
              <a:gd name="connsiteY119" fmla="*/ 872392 h 1655880"/>
              <a:gd name="connsiteX120" fmla="*/ 1153863 w 1734660"/>
              <a:gd name="connsiteY120" fmla="*/ 872166 h 1655880"/>
              <a:gd name="connsiteX121" fmla="*/ 1152384 w 1734660"/>
              <a:gd name="connsiteY121" fmla="*/ 1290246 h 1655880"/>
              <a:gd name="connsiteX122" fmla="*/ 1427452 w 1734660"/>
              <a:gd name="connsiteY122" fmla="*/ 1374022 h 1655880"/>
              <a:gd name="connsiteX123" fmla="*/ 1321566 w 1734660"/>
              <a:gd name="connsiteY123" fmla="*/ 1320201 h 1655880"/>
              <a:gd name="connsiteX124" fmla="*/ 1138296 w 1734660"/>
              <a:gd name="connsiteY124" fmla="*/ 1173480 h 1655880"/>
              <a:gd name="connsiteX125" fmla="*/ 1324775 w 1734660"/>
              <a:gd name="connsiteY125" fmla="*/ 843539 h 1655880"/>
              <a:gd name="connsiteX126" fmla="*/ 1617741 w 1734660"/>
              <a:gd name="connsiteY126" fmla="*/ 1127205 h 1655880"/>
              <a:gd name="connsiteX127" fmla="*/ 1321566 w 1734660"/>
              <a:gd name="connsiteY127" fmla="*/ 1320201 h 1655880"/>
              <a:gd name="connsiteX128" fmla="*/ 1413890 w 1734660"/>
              <a:gd name="connsiteY128" fmla="*/ 1266306 h 1655880"/>
              <a:gd name="connsiteX129" fmla="*/ 1564121 w 1734660"/>
              <a:gd name="connsiteY129" fmla="*/ 1054509 h 1655880"/>
              <a:gd name="connsiteX130" fmla="*/ 1233553 w 1734660"/>
              <a:gd name="connsiteY130" fmla="*/ 948547 h 1655880"/>
              <a:gd name="connsiteX131" fmla="*/ 1285143 w 1734660"/>
              <a:gd name="connsiteY131" fmla="*/ 1251015 h 1655880"/>
              <a:gd name="connsiteX132" fmla="*/ 1413890 w 1734660"/>
              <a:gd name="connsiteY132" fmla="*/ 1266306 h 1655880"/>
              <a:gd name="connsiteX133" fmla="*/ 1307177 w 1734660"/>
              <a:gd name="connsiteY133" fmla="*/ 1211884 h 1655880"/>
              <a:gd name="connsiteX134" fmla="*/ 1259122 w 1734660"/>
              <a:gd name="connsiteY134" fmla="*/ 1167740 h 1655880"/>
              <a:gd name="connsiteX135" fmla="*/ 1266492 w 1734660"/>
              <a:gd name="connsiteY135" fmla="*/ 1139940 h 1655880"/>
              <a:gd name="connsiteX136" fmla="*/ 1272634 w 1734660"/>
              <a:gd name="connsiteY136" fmla="*/ 1117855 h 1655880"/>
              <a:gd name="connsiteX137" fmla="*/ 1251251 w 1734660"/>
              <a:gd name="connsiteY137" fmla="*/ 1102438 h 1655880"/>
              <a:gd name="connsiteX138" fmla="*/ 1231172 w 1734660"/>
              <a:gd name="connsiteY138" fmla="*/ 1077396 h 1655880"/>
              <a:gd name="connsiteX139" fmla="*/ 1247666 w 1734660"/>
              <a:gd name="connsiteY139" fmla="*/ 1020367 h 1655880"/>
              <a:gd name="connsiteX140" fmla="*/ 1256591 w 1734660"/>
              <a:gd name="connsiteY140" fmla="*/ 1000939 h 1655880"/>
              <a:gd name="connsiteX141" fmla="*/ 1283889 w 1734660"/>
              <a:gd name="connsiteY141" fmla="*/ 1000939 h 1655880"/>
              <a:gd name="connsiteX142" fmla="*/ 1311163 w 1734660"/>
              <a:gd name="connsiteY142" fmla="*/ 1000939 h 1655880"/>
              <a:gd name="connsiteX143" fmla="*/ 1319084 w 1734660"/>
              <a:gd name="connsiteY143" fmla="*/ 977175 h 1655880"/>
              <a:gd name="connsiteX144" fmla="*/ 1371025 w 1734660"/>
              <a:gd name="connsiteY144" fmla="*/ 948573 h 1655880"/>
              <a:gd name="connsiteX145" fmla="*/ 1422940 w 1734660"/>
              <a:gd name="connsiteY145" fmla="*/ 977175 h 1655880"/>
              <a:gd name="connsiteX146" fmla="*/ 1430861 w 1734660"/>
              <a:gd name="connsiteY146" fmla="*/ 1000939 h 1655880"/>
              <a:gd name="connsiteX147" fmla="*/ 1456330 w 1734660"/>
              <a:gd name="connsiteY147" fmla="*/ 1000939 h 1655880"/>
              <a:gd name="connsiteX148" fmla="*/ 1481799 w 1734660"/>
              <a:gd name="connsiteY148" fmla="*/ 1000939 h 1655880"/>
              <a:gd name="connsiteX149" fmla="*/ 1490773 w 1734660"/>
              <a:gd name="connsiteY149" fmla="*/ 1016983 h 1655880"/>
              <a:gd name="connsiteX150" fmla="*/ 1510877 w 1734660"/>
              <a:gd name="connsiteY150" fmla="*/ 1078850 h 1655880"/>
              <a:gd name="connsiteX151" fmla="*/ 1490773 w 1734660"/>
              <a:gd name="connsiteY151" fmla="*/ 1102438 h 1655880"/>
              <a:gd name="connsiteX152" fmla="*/ 1469416 w 1734660"/>
              <a:gd name="connsiteY152" fmla="*/ 1117855 h 1655880"/>
              <a:gd name="connsiteX153" fmla="*/ 1475532 w 1734660"/>
              <a:gd name="connsiteY153" fmla="*/ 1139940 h 1655880"/>
              <a:gd name="connsiteX154" fmla="*/ 1482927 w 1734660"/>
              <a:gd name="connsiteY154" fmla="*/ 1167740 h 1655880"/>
              <a:gd name="connsiteX155" fmla="*/ 1411986 w 1734660"/>
              <a:gd name="connsiteY155" fmla="*/ 1218377 h 1655880"/>
              <a:gd name="connsiteX156" fmla="*/ 1389274 w 1734660"/>
              <a:gd name="connsiteY156" fmla="*/ 1202559 h 1655880"/>
              <a:gd name="connsiteX157" fmla="*/ 1370824 w 1734660"/>
              <a:gd name="connsiteY157" fmla="*/ 1189223 h 1655880"/>
              <a:gd name="connsiteX158" fmla="*/ 1349943 w 1734660"/>
              <a:gd name="connsiteY158" fmla="*/ 1204890 h 1655880"/>
              <a:gd name="connsiteX159" fmla="*/ 1326429 w 1734660"/>
              <a:gd name="connsiteY159" fmla="*/ 1220407 h 1655880"/>
              <a:gd name="connsiteX160" fmla="*/ 1307177 w 1734660"/>
              <a:gd name="connsiteY160" fmla="*/ 1211884 h 1655880"/>
              <a:gd name="connsiteX161" fmla="*/ 1347912 w 1734660"/>
              <a:gd name="connsiteY161" fmla="*/ 1139263 h 1655880"/>
              <a:gd name="connsiteX162" fmla="*/ 1371301 w 1734660"/>
              <a:gd name="connsiteY162" fmla="*/ 1122141 h 1655880"/>
              <a:gd name="connsiteX163" fmla="*/ 1395190 w 1734660"/>
              <a:gd name="connsiteY163" fmla="*/ 1139263 h 1655880"/>
              <a:gd name="connsiteX164" fmla="*/ 1421060 w 1734660"/>
              <a:gd name="connsiteY164" fmla="*/ 1156359 h 1655880"/>
              <a:gd name="connsiteX165" fmla="*/ 1414517 w 1734660"/>
              <a:gd name="connsiteY165" fmla="*/ 1132119 h 1655880"/>
              <a:gd name="connsiteX166" fmla="*/ 1405994 w 1734660"/>
              <a:gd name="connsiteY166" fmla="*/ 1101987 h 1655880"/>
              <a:gd name="connsiteX167" fmla="*/ 1428781 w 1734660"/>
              <a:gd name="connsiteY167" fmla="*/ 1079928 h 1655880"/>
              <a:gd name="connsiteX168" fmla="*/ 1450339 w 1734660"/>
              <a:gd name="connsiteY168" fmla="*/ 1060224 h 1655880"/>
              <a:gd name="connsiteX169" fmla="*/ 1419907 w 1734660"/>
              <a:gd name="connsiteY169" fmla="*/ 1055010 h 1655880"/>
              <a:gd name="connsiteX170" fmla="*/ 1390653 w 1734660"/>
              <a:gd name="connsiteY170" fmla="*/ 1053305 h 1655880"/>
              <a:gd name="connsiteX171" fmla="*/ 1381879 w 1734660"/>
              <a:gd name="connsiteY171" fmla="*/ 1027110 h 1655880"/>
              <a:gd name="connsiteX172" fmla="*/ 1370799 w 1734660"/>
              <a:gd name="connsiteY172" fmla="*/ 1000939 h 1655880"/>
              <a:gd name="connsiteX173" fmla="*/ 1360521 w 1734660"/>
              <a:gd name="connsiteY173" fmla="*/ 1027962 h 1655880"/>
              <a:gd name="connsiteX174" fmla="*/ 1352575 w 1734660"/>
              <a:gd name="connsiteY174" fmla="*/ 1054985 h 1655880"/>
              <a:gd name="connsiteX175" fmla="*/ 1321591 w 1734660"/>
              <a:gd name="connsiteY175" fmla="*/ 1054985 h 1655880"/>
              <a:gd name="connsiteX176" fmla="*/ 1290607 w 1734660"/>
              <a:gd name="connsiteY176" fmla="*/ 1059422 h 1655880"/>
              <a:gd name="connsiteX177" fmla="*/ 1313319 w 1734660"/>
              <a:gd name="connsiteY177" fmla="*/ 1079953 h 1655880"/>
              <a:gd name="connsiteX178" fmla="*/ 1336055 w 1734660"/>
              <a:gd name="connsiteY178" fmla="*/ 1101987 h 1655880"/>
              <a:gd name="connsiteX179" fmla="*/ 1327507 w 1734660"/>
              <a:gd name="connsiteY179" fmla="*/ 1132119 h 1655880"/>
              <a:gd name="connsiteX180" fmla="*/ 1321742 w 1734660"/>
              <a:gd name="connsiteY180" fmla="*/ 1156359 h 1655880"/>
              <a:gd name="connsiteX181" fmla="*/ 1347912 w 1734660"/>
              <a:gd name="connsiteY181" fmla="*/ 1139263 h 1655880"/>
              <a:gd name="connsiteX182" fmla="*/ 611874 w 1734660"/>
              <a:gd name="connsiteY182" fmla="*/ 1134751 h 1655880"/>
              <a:gd name="connsiteX183" fmla="*/ 632755 w 1734660"/>
              <a:gd name="connsiteY183" fmla="*/ 1109783 h 1655880"/>
              <a:gd name="connsiteX184" fmla="*/ 587759 w 1734660"/>
              <a:gd name="connsiteY184" fmla="*/ 1048493 h 1655880"/>
              <a:gd name="connsiteX185" fmla="*/ 542762 w 1734660"/>
              <a:gd name="connsiteY185" fmla="*/ 1109783 h 1655880"/>
              <a:gd name="connsiteX186" fmla="*/ 587759 w 1734660"/>
              <a:gd name="connsiteY186" fmla="*/ 1156359 h 1655880"/>
              <a:gd name="connsiteX187" fmla="*/ 611874 w 1734660"/>
              <a:gd name="connsiteY187" fmla="*/ 1134751 h 1655880"/>
              <a:gd name="connsiteX188" fmla="*/ 529903 w 1734660"/>
              <a:gd name="connsiteY188" fmla="*/ 1032876 h 1655880"/>
              <a:gd name="connsiteX189" fmla="*/ 553567 w 1734660"/>
              <a:gd name="connsiteY189" fmla="*/ 1000588 h 1655880"/>
              <a:gd name="connsiteX190" fmla="*/ 513834 w 1734660"/>
              <a:gd name="connsiteY190" fmla="*/ 942882 h 1655880"/>
              <a:gd name="connsiteX191" fmla="*/ 471946 w 1734660"/>
              <a:gd name="connsiteY191" fmla="*/ 881943 h 1655880"/>
              <a:gd name="connsiteX192" fmla="*/ 433893 w 1734660"/>
              <a:gd name="connsiteY192" fmla="*/ 896206 h 1655880"/>
              <a:gd name="connsiteX193" fmla="*/ 460590 w 1734660"/>
              <a:gd name="connsiteY193" fmla="*/ 980484 h 1655880"/>
              <a:gd name="connsiteX194" fmla="*/ 505662 w 1734660"/>
              <a:gd name="connsiteY194" fmla="*/ 1065137 h 1655880"/>
              <a:gd name="connsiteX195" fmla="*/ 529903 w 1734660"/>
              <a:gd name="connsiteY195" fmla="*/ 1032876 h 1655880"/>
              <a:gd name="connsiteX196" fmla="*/ 701441 w 1734660"/>
              <a:gd name="connsiteY196" fmla="*/ 1009086 h 1655880"/>
              <a:gd name="connsiteX197" fmla="*/ 739970 w 1734660"/>
              <a:gd name="connsiteY197" fmla="*/ 904629 h 1655880"/>
              <a:gd name="connsiteX198" fmla="*/ 742176 w 1734660"/>
              <a:gd name="connsiteY198" fmla="*/ 891118 h 1655880"/>
              <a:gd name="connsiteX199" fmla="*/ 723927 w 1734660"/>
              <a:gd name="connsiteY199" fmla="*/ 884901 h 1655880"/>
              <a:gd name="connsiteX200" fmla="*/ 703547 w 1734660"/>
              <a:gd name="connsiteY200" fmla="*/ 881943 h 1655880"/>
              <a:gd name="connsiteX201" fmla="*/ 661658 w 1734660"/>
              <a:gd name="connsiteY201" fmla="*/ 942882 h 1655880"/>
              <a:gd name="connsiteX202" fmla="*/ 621926 w 1734660"/>
              <a:gd name="connsiteY202" fmla="*/ 1000588 h 1655880"/>
              <a:gd name="connsiteX203" fmla="*/ 645715 w 1734660"/>
              <a:gd name="connsiteY203" fmla="*/ 1033051 h 1655880"/>
              <a:gd name="connsiteX204" fmla="*/ 669530 w 1734660"/>
              <a:gd name="connsiteY204" fmla="*/ 1065489 h 1655880"/>
              <a:gd name="connsiteX205" fmla="*/ 677752 w 1734660"/>
              <a:gd name="connsiteY205" fmla="*/ 1052629 h 1655880"/>
              <a:gd name="connsiteX206" fmla="*/ 701441 w 1734660"/>
              <a:gd name="connsiteY206" fmla="*/ 1009086 h 1655880"/>
              <a:gd name="connsiteX207" fmla="*/ 624458 w 1734660"/>
              <a:gd name="connsiteY207" fmla="*/ 899089 h 1655880"/>
              <a:gd name="connsiteX208" fmla="*/ 660706 w 1734660"/>
              <a:gd name="connsiteY208" fmla="*/ 844792 h 1655880"/>
              <a:gd name="connsiteX209" fmla="*/ 655868 w 1734660"/>
              <a:gd name="connsiteY209" fmla="*/ 828473 h 1655880"/>
              <a:gd name="connsiteX210" fmla="*/ 649776 w 1734660"/>
              <a:gd name="connsiteY210" fmla="*/ 815413 h 1655880"/>
              <a:gd name="connsiteX211" fmla="*/ 637117 w 1734660"/>
              <a:gd name="connsiteY211" fmla="*/ 821504 h 1655880"/>
              <a:gd name="connsiteX212" fmla="*/ 606108 w 1734660"/>
              <a:gd name="connsiteY212" fmla="*/ 833838 h 1655880"/>
              <a:gd name="connsiteX213" fmla="*/ 569384 w 1734660"/>
              <a:gd name="connsiteY213" fmla="*/ 833838 h 1655880"/>
              <a:gd name="connsiteX214" fmla="*/ 538376 w 1734660"/>
              <a:gd name="connsiteY214" fmla="*/ 821504 h 1655880"/>
              <a:gd name="connsiteX215" fmla="*/ 525716 w 1734660"/>
              <a:gd name="connsiteY215" fmla="*/ 815413 h 1655880"/>
              <a:gd name="connsiteX216" fmla="*/ 519625 w 1734660"/>
              <a:gd name="connsiteY216" fmla="*/ 828473 h 1655880"/>
              <a:gd name="connsiteX217" fmla="*/ 514787 w 1734660"/>
              <a:gd name="connsiteY217" fmla="*/ 844792 h 1655880"/>
              <a:gd name="connsiteX218" fmla="*/ 587759 w 1734660"/>
              <a:gd name="connsiteY218" fmla="*/ 950102 h 1655880"/>
              <a:gd name="connsiteX219" fmla="*/ 624458 w 1734660"/>
              <a:gd name="connsiteY219" fmla="*/ 899089 h 1655880"/>
              <a:gd name="connsiteX220" fmla="*/ 354654 w 1734660"/>
              <a:gd name="connsiteY220" fmla="*/ 861061 h 1655880"/>
              <a:gd name="connsiteX221" fmla="*/ 455677 w 1734660"/>
              <a:gd name="connsiteY221" fmla="*/ 822958 h 1655880"/>
              <a:gd name="connsiteX222" fmla="*/ 469790 w 1734660"/>
              <a:gd name="connsiteY222" fmla="*/ 801826 h 1655880"/>
              <a:gd name="connsiteX223" fmla="*/ 476709 w 1734660"/>
              <a:gd name="connsiteY223" fmla="*/ 786886 h 1655880"/>
              <a:gd name="connsiteX224" fmla="*/ 466657 w 1734660"/>
              <a:gd name="connsiteY224" fmla="*/ 780168 h 1655880"/>
              <a:gd name="connsiteX225" fmla="*/ 376112 w 1734660"/>
              <a:gd name="connsiteY225" fmla="*/ 688370 h 1655880"/>
              <a:gd name="connsiteX226" fmla="*/ 328709 w 1734660"/>
              <a:gd name="connsiteY226" fmla="*/ 595469 h 1655880"/>
              <a:gd name="connsiteX227" fmla="*/ 309056 w 1734660"/>
              <a:gd name="connsiteY227" fmla="*/ 440876 h 1655880"/>
              <a:gd name="connsiteX228" fmla="*/ 307251 w 1734660"/>
              <a:gd name="connsiteY228" fmla="*/ 352162 h 1655880"/>
              <a:gd name="connsiteX229" fmla="*/ 358490 w 1734660"/>
              <a:gd name="connsiteY229" fmla="*/ 352162 h 1655880"/>
              <a:gd name="connsiteX230" fmla="*/ 565799 w 1734660"/>
              <a:gd name="connsiteY230" fmla="*/ 280242 h 1655880"/>
              <a:gd name="connsiteX231" fmla="*/ 587759 w 1734660"/>
              <a:gd name="connsiteY231" fmla="*/ 259862 h 1655880"/>
              <a:gd name="connsiteX232" fmla="*/ 609718 w 1734660"/>
              <a:gd name="connsiteY232" fmla="*/ 280242 h 1655880"/>
              <a:gd name="connsiteX233" fmla="*/ 817003 w 1734660"/>
              <a:gd name="connsiteY233" fmla="*/ 352162 h 1655880"/>
              <a:gd name="connsiteX234" fmla="*/ 868241 w 1734660"/>
              <a:gd name="connsiteY234" fmla="*/ 352162 h 1655880"/>
              <a:gd name="connsiteX235" fmla="*/ 866462 w 1734660"/>
              <a:gd name="connsiteY235" fmla="*/ 440876 h 1655880"/>
              <a:gd name="connsiteX236" fmla="*/ 846783 w 1734660"/>
              <a:gd name="connsiteY236" fmla="*/ 595469 h 1655880"/>
              <a:gd name="connsiteX237" fmla="*/ 799381 w 1734660"/>
              <a:gd name="connsiteY237" fmla="*/ 688370 h 1655880"/>
              <a:gd name="connsiteX238" fmla="*/ 708836 w 1734660"/>
              <a:gd name="connsiteY238" fmla="*/ 780168 h 1655880"/>
              <a:gd name="connsiteX239" fmla="*/ 698784 w 1734660"/>
              <a:gd name="connsiteY239" fmla="*/ 786886 h 1655880"/>
              <a:gd name="connsiteX240" fmla="*/ 705703 w 1734660"/>
              <a:gd name="connsiteY240" fmla="*/ 801826 h 1655880"/>
              <a:gd name="connsiteX241" fmla="*/ 719640 w 1734660"/>
              <a:gd name="connsiteY241" fmla="*/ 822808 h 1655880"/>
              <a:gd name="connsiteX242" fmla="*/ 936777 w 1734660"/>
              <a:gd name="connsiteY242" fmla="*/ 899490 h 1655880"/>
              <a:gd name="connsiteX243" fmla="*/ 970066 w 1734660"/>
              <a:gd name="connsiteY243" fmla="*/ 864471 h 1655880"/>
              <a:gd name="connsiteX244" fmla="*/ 978490 w 1734660"/>
              <a:gd name="connsiteY244" fmla="*/ 834790 h 1655880"/>
              <a:gd name="connsiteX245" fmla="*/ 958736 w 1734660"/>
              <a:gd name="connsiteY245" fmla="*/ 797916 h 1655880"/>
              <a:gd name="connsiteX246" fmla="*/ 924819 w 1734660"/>
              <a:gd name="connsiteY246" fmla="*/ 732915 h 1655880"/>
              <a:gd name="connsiteX247" fmla="*/ 947430 w 1734660"/>
              <a:gd name="connsiteY247" fmla="*/ 659216 h 1655880"/>
              <a:gd name="connsiteX248" fmla="*/ 978464 w 1734660"/>
              <a:gd name="connsiteY248" fmla="*/ 601510 h 1655880"/>
              <a:gd name="connsiteX249" fmla="*/ 966808 w 1734660"/>
              <a:gd name="connsiteY249" fmla="*/ 573509 h 1655880"/>
              <a:gd name="connsiteX250" fmla="*/ 945375 w 1734660"/>
              <a:gd name="connsiteY250" fmla="*/ 547865 h 1655880"/>
              <a:gd name="connsiteX251" fmla="*/ 923440 w 1734660"/>
              <a:gd name="connsiteY251" fmla="*/ 416210 h 1655880"/>
              <a:gd name="connsiteX252" fmla="*/ 918126 w 1734660"/>
              <a:gd name="connsiteY252" fmla="*/ 303330 h 1655880"/>
              <a:gd name="connsiteX253" fmla="*/ 666346 w 1734660"/>
              <a:gd name="connsiteY253" fmla="*/ 59722 h 1655880"/>
              <a:gd name="connsiteX254" fmla="*/ 371124 w 1734660"/>
              <a:gd name="connsiteY254" fmla="*/ 164103 h 1655880"/>
              <a:gd name="connsiteX255" fmla="*/ 343148 w 1734660"/>
              <a:gd name="connsiteY255" fmla="*/ 188820 h 1655880"/>
              <a:gd name="connsiteX256" fmla="*/ 281557 w 1734660"/>
              <a:gd name="connsiteY256" fmla="*/ 225520 h 1655880"/>
              <a:gd name="connsiteX257" fmla="*/ 261753 w 1734660"/>
              <a:gd name="connsiteY257" fmla="*/ 256152 h 1655880"/>
              <a:gd name="connsiteX258" fmla="*/ 252052 w 1734660"/>
              <a:gd name="connsiteY258" fmla="*/ 392721 h 1655880"/>
              <a:gd name="connsiteX259" fmla="*/ 219113 w 1734660"/>
              <a:gd name="connsiteY259" fmla="*/ 561377 h 1655880"/>
              <a:gd name="connsiteX260" fmla="*/ 196126 w 1734660"/>
              <a:gd name="connsiteY260" fmla="*/ 607000 h 1655880"/>
              <a:gd name="connsiteX261" fmla="*/ 228087 w 1734660"/>
              <a:gd name="connsiteY261" fmla="*/ 659216 h 1655880"/>
              <a:gd name="connsiteX262" fmla="*/ 250698 w 1734660"/>
              <a:gd name="connsiteY262" fmla="*/ 732915 h 1655880"/>
              <a:gd name="connsiteX263" fmla="*/ 216857 w 1734660"/>
              <a:gd name="connsiteY263" fmla="*/ 797816 h 1655880"/>
              <a:gd name="connsiteX264" fmla="*/ 197028 w 1734660"/>
              <a:gd name="connsiteY264" fmla="*/ 833362 h 1655880"/>
              <a:gd name="connsiteX265" fmla="*/ 220016 w 1734660"/>
              <a:gd name="connsiteY265" fmla="*/ 883221 h 1655880"/>
              <a:gd name="connsiteX266" fmla="*/ 235933 w 1734660"/>
              <a:gd name="connsiteY266" fmla="*/ 902373 h 1655880"/>
              <a:gd name="connsiteX267" fmla="*/ 248367 w 1734660"/>
              <a:gd name="connsiteY267" fmla="*/ 897685 h 1655880"/>
              <a:gd name="connsiteX268" fmla="*/ 354654 w 1734660"/>
              <a:gd name="connsiteY268" fmla="*/ 861061 h 1655880"/>
              <a:gd name="connsiteX269" fmla="*/ 627140 w 1734660"/>
              <a:gd name="connsiteY269" fmla="*/ 765453 h 1655880"/>
              <a:gd name="connsiteX270" fmla="*/ 775616 w 1734660"/>
              <a:gd name="connsiteY270" fmla="*/ 620812 h 1655880"/>
              <a:gd name="connsiteX271" fmla="*/ 811538 w 1734660"/>
              <a:gd name="connsiteY271" fmla="*/ 453611 h 1655880"/>
              <a:gd name="connsiteX272" fmla="*/ 811538 w 1734660"/>
              <a:gd name="connsiteY272" fmla="*/ 407261 h 1655880"/>
              <a:gd name="connsiteX273" fmla="*/ 775691 w 1734660"/>
              <a:gd name="connsiteY273" fmla="*/ 405205 h 1655880"/>
              <a:gd name="connsiteX274" fmla="*/ 610044 w 1734660"/>
              <a:gd name="connsiteY274" fmla="*/ 350557 h 1655880"/>
              <a:gd name="connsiteX275" fmla="*/ 587759 w 1734660"/>
              <a:gd name="connsiteY275" fmla="*/ 335517 h 1655880"/>
              <a:gd name="connsiteX276" fmla="*/ 565449 w 1734660"/>
              <a:gd name="connsiteY276" fmla="*/ 350557 h 1655880"/>
              <a:gd name="connsiteX277" fmla="*/ 399801 w 1734660"/>
              <a:gd name="connsiteY277" fmla="*/ 405205 h 1655880"/>
              <a:gd name="connsiteX278" fmla="*/ 363954 w 1734660"/>
              <a:gd name="connsiteY278" fmla="*/ 407261 h 1655880"/>
              <a:gd name="connsiteX279" fmla="*/ 363954 w 1734660"/>
              <a:gd name="connsiteY279" fmla="*/ 453611 h 1655880"/>
              <a:gd name="connsiteX280" fmla="*/ 399901 w 1734660"/>
              <a:gd name="connsiteY280" fmla="*/ 620812 h 1655880"/>
              <a:gd name="connsiteX281" fmla="*/ 491574 w 1734660"/>
              <a:gd name="connsiteY281" fmla="*/ 730609 h 1655880"/>
              <a:gd name="connsiteX282" fmla="*/ 587182 w 1734660"/>
              <a:gd name="connsiteY282" fmla="*/ 781246 h 1655880"/>
              <a:gd name="connsiteX283" fmla="*/ 627140 w 1734660"/>
              <a:gd name="connsiteY283" fmla="*/ 765453 h 1655880"/>
              <a:gd name="connsiteX284" fmla="*/ 1340592 w 1734660"/>
              <a:gd name="connsiteY284" fmla="*/ 671198 h 1655880"/>
              <a:gd name="connsiteX285" fmla="*/ 1312041 w 1734660"/>
              <a:gd name="connsiteY285" fmla="*/ 652548 h 1655880"/>
              <a:gd name="connsiteX286" fmla="*/ 1287098 w 1734660"/>
              <a:gd name="connsiteY286" fmla="*/ 561076 h 1655880"/>
              <a:gd name="connsiteX287" fmla="*/ 1287098 w 1734660"/>
              <a:gd name="connsiteY287" fmla="*/ 514375 h 1655880"/>
              <a:gd name="connsiteX288" fmla="*/ 1195300 w 1734660"/>
              <a:gd name="connsiteY288" fmla="*/ 514350 h 1655880"/>
              <a:gd name="connsiteX289" fmla="*/ 1085829 w 1734660"/>
              <a:gd name="connsiteY289" fmla="*/ 506353 h 1655880"/>
              <a:gd name="connsiteX290" fmla="*/ 1039379 w 1734660"/>
              <a:gd name="connsiteY290" fmla="*/ 457396 h 1655880"/>
              <a:gd name="connsiteX291" fmla="*/ 1039579 w 1734660"/>
              <a:gd name="connsiteY291" fmla="*/ 56914 h 1655880"/>
              <a:gd name="connsiteX292" fmla="*/ 1093450 w 1734660"/>
              <a:gd name="connsiteY292" fmla="*/ 4874 h 1655880"/>
              <a:gd name="connsiteX293" fmla="*/ 1675748 w 1734660"/>
              <a:gd name="connsiteY293" fmla="*/ 4698 h 1655880"/>
              <a:gd name="connsiteX294" fmla="*/ 1726385 w 1734660"/>
              <a:gd name="connsiteY294" fmla="*/ 49594 h 1655880"/>
              <a:gd name="connsiteX295" fmla="*/ 1734607 w 1734660"/>
              <a:gd name="connsiteY295" fmla="*/ 66665 h 1655880"/>
              <a:gd name="connsiteX296" fmla="*/ 1734607 w 1734660"/>
              <a:gd name="connsiteY296" fmla="*/ 257581 h 1655880"/>
              <a:gd name="connsiteX297" fmla="*/ 1734607 w 1734660"/>
              <a:gd name="connsiteY297" fmla="*/ 448497 h 1655880"/>
              <a:gd name="connsiteX298" fmla="*/ 1726360 w 1734660"/>
              <a:gd name="connsiteY298" fmla="*/ 465393 h 1655880"/>
              <a:gd name="connsiteX299" fmla="*/ 1682240 w 1734660"/>
              <a:gd name="connsiteY299" fmla="*/ 507356 h 1655880"/>
              <a:gd name="connsiteX300" fmla="*/ 1596358 w 1734660"/>
              <a:gd name="connsiteY300" fmla="*/ 514299 h 1655880"/>
              <a:gd name="connsiteX301" fmla="*/ 1526219 w 1734660"/>
              <a:gd name="connsiteY301" fmla="*/ 514375 h 1655880"/>
              <a:gd name="connsiteX302" fmla="*/ 1477462 w 1734660"/>
              <a:gd name="connsiteY302" fmla="*/ 584414 h 1655880"/>
              <a:gd name="connsiteX303" fmla="*/ 1412436 w 1734660"/>
              <a:gd name="connsiteY303" fmla="*/ 664104 h 1655880"/>
              <a:gd name="connsiteX304" fmla="*/ 1340618 w 1734660"/>
              <a:gd name="connsiteY304" fmla="*/ 671224 h 1655880"/>
              <a:gd name="connsiteX305" fmla="*/ 1383483 w 1734660"/>
              <a:gd name="connsiteY305" fmla="*/ 617729 h 1655880"/>
              <a:gd name="connsiteX306" fmla="*/ 1442844 w 1734660"/>
              <a:gd name="connsiteY306" fmla="*/ 536710 h 1655880"/>
              <a:gd name="connsiteX307" fmla="*/ 1495160 w 1734660"/>
              <a:gd name="connsiteY307" fmla="*/ 460454 h 1655880"/>
              <a:gd name="connsiteX308" fmla="*/ 1578360 w 1734660"/>
              <a:gd name="connsiteY308" fmla="*/ 460379 h 1655880"/>
              <a:gd name="connsiteX309" fmla="*/ 1661560 w 1734660"/>
              <a:gd name="connsiteY309" fmla="*/ 460304 h 1655880"/>
              <a:gd name="connsiteX310" fmla="*/ 1670158 w 1734660"/>
              <a:gd name="connsiteY310" fmla="*/ 452006 h 1655880"/>
              <a:gd name="connsiteX311" fmla="*/ 1678731 w 1734660"/>
              <a:gd name="connsiteY311" fmla="*/ 443734 h 1655880"/>
              <a:gd name="connsiteX312" fmla="*/ 1678731 w 1734660"/>
              <a:gd name="connsiteY312" fmla="*/ 257581 h 1655880"/>
              <a:gd name="connsiteX313" fmla="*/ 1678731 w 1734660"/>
              <a:gd name="connsiteY313" fmla="*/ 71428 h 1655880"/>
              <a:gd name="connsiteX314" fmla="*/ 1670158 w 1734660"/>
              <a:gd name="connsiteY314" fmla="*/ 63131 h 1655880"/>
              <a:gd name="connsiteX315" fmla="*/ 1661560 w 1734660"/>
              <a:gd name="connsiteY315" fmla="*/ 54833 h 1655880"/>
              <a:gd name="connsiteX316" fmla="*/ 1385013 w 1734660"/>
              <a:gd name="connsiteY316" fmla="*/ 54833 h 1655880"/>
              <a:gd name="connsiteX317" fmla="*/ 1108440 w 1734660"/>
              <a:gd name="connsiteY317" fmla="*/ 54833 h 1655880"/>
              <a:gd name="connsiteX318" fmla="*/ 1099867 w 1734660"/>
              <a:gd name="connsiteY318" fmla="*/ 63131 h 1655880"/>
              <a:gd name="connsiteX319" fmla="*/ 1091269 w 1734660"/>
              <a:gd name="connsiteY319" fmla="*/ 71428 h 1655880"/>
              <a:gd name="connsiteX320" fmla="*/ 1091269 w 1734660"/>
              <a:gd name="connsiteY320" fmla="*/ 257581 h 1655880"/>
              <a:gd name="connsiteX321" fmla="*/ 1091269 w 1734660"/>
              <a:gd name="connsiteY321" fmla="*/ 443734 h 1655880"/>
              <a:gd name="connsiteX322" fmla="*/ 1099867 w 1734660"/>
              <a:gd name="connsiteY322" fmla="*/ 452006 h 1655880"/>
              <a:gd name="connsiteX323" fmla="*/ 1108440 w 1734660"/>
              <a:gd name="connsiteY323" fmla="*/ 460304 h 1655880"/>
              <a:gd name="connsiteX324" fmla="*/ 1225757 w 1734660"/>
              <a:gd name="connsiteY324" fmla="*/ 460304 h 1655880"/>
              <a:gd name="connsiteX325" fmla="*/ 1343049 w 1734660"/>
              <a:gd name="connsiteY325" fmla="*/ 460304 h 1655880"/>
              <a:gd name="connsiteX326" fmla="*/ 1343049 w 1734660"/>
              <a:gd name="connsiteY326" fmla="*/ 533100 h 1655880"/>
              <a:gd name="connsiteX327" fmla="*/ 1351622 w 1734660"/>
              <a:gd name="connsiteY327" fmla="*/ 614220 h 1655880"/>
              <a:gd name="connsiteX328" fmla="*/ 1383483 w 1734660"/>
              <a:gd name="connsiteY328" fmla="*/ 617754 h 1655880"/>
              <a:gd name="connsiteX329" fmla="*/ 1290583 w 1734660"/>
              <a:gd name="connsiteY329" fmla="*/ 340355 h 1655880"/>
              <a:gd name="connsiteX330" fmla="*/ 1239971 w 1734660"/>
              <a:gd name="connsiteY330" fmla="*/ 291347 h 1655880"/>
              <a:gd name="connsiteX331" fmla="*/ 1260025 w 1734660"/>
              <a:gd name="connsiteY331" fmla="*/ 271970 h 1655880"/>
              <a:gd name="connsiteX332" fmla="*/ 1280079 w 1734660"/>
              <a:gd name="connsiteY332" fmla="*/ 252593 h 1655880"/>
              <a:gd name="connsiteX333" fmla="*/ 1311589 w 1734660"/>
              <a:gd name="connsiteY333" fmla="*/ 282900 h 1655880"/>
              <a:gd name="connsiteX334" fmla="*/ 1343099 w 1734660"/>
              <a:gd name="connsiteY334" fmla="*/ 313231 h 1655880"/>
              <a:gd name="connsiteX335" fmla="*/ 1444473 w 1734660"/>
              <a:gd name="connsiteY335" fmla="*/ 215317 h 1655880"/>
              <a:gd name="connsiteX336" fmla="*/ 1545847 w 1734660"/>
              <a:gd name="connsiteY336" fmla="*/ 117402 h 1655880"/>
              <a:gd name="connsiteX337" fmla="*/ 1565926 w 1734660"/>
              <a:gd name="connsiteY337" fmla="*/ 136805 h 1655880"/>
              <a:gd name="connsiteX338" fmla="*/ 1586005 w 1734660"/>
              <a:gd name="connsiteY338" fmla="*/ 156207 h 1655880"/>
              <a:gd name="connsiteX339" fmla="*/ 1465430 w 1734660"/>
              <a:gd name="connsiteY339" fmla="*/ 272772 h 1655880"/>
              <a:gd name="connsiteX340" fmla="*/ 1343024 w 1734660"/>
              <a:gd name="connsiteY340" fmla="*/ 389337 h 1655880"/>
              <a:gd name="connsiteX341" fmla="*/ 1290583 w 1734660"/>
              <a:gd name="connsiteY341" fmla="*/ 340355 h 165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734660" h="1655880">
                <a:moveTo>
                  <a:pt x="1119245" y="1599005"/>
                </a:moveTo>
                <a:lnTo>
                  <a:pt x="1119245" y="1541575"/>
                </a:lnTo>
                <a:lnTo>
                  <a:pt x="559608" y="1541575"/>
                </a:lnTo>
                <a:lnTo>
                  <a:pt x="-54" y="1541575"/>
                </a:lnTo>
                <a:lnTo>
                  <a:pt x="1124" y="1343063"/>
                </a:lnTo>
                <a:cubicBezTo>
                  <a:pt x="2277" y="1150042"/>
                  <a:pt x="2528" y="1143800"/>
                  <a:pt x="10073" y="1117680"/>
                </a:cubicBezTo>
                <a:cubicBezTo>
                  <a:pt x="31381" y="1044081"/>
                  <a:pt x="85603" y="973666"/>
                  <a:pt x="146868" y="940050"/>
                </a:cubicBezTo>
                <a:cubicBezTo>
                  <a:pt x="183116" y="920171"/>
                  <a:pt x="181587" y="923254"/>
                  <a:pt x="165167" y="903175"/>
                </a:cubicBezTo>
                <a:cubicBezTo>
                  <a:pt x="129922" y="860084"/>
                  <a:pt x="132880" y="808469"/>
                  <a:pt x="173114" y="764701"/>
                </a:cubicBezTo>
                <a:cubicBezTo>
                  <a:pt x="191137" y="745073"/>
                  <a:pt x="196126" y="735422"/>
                  <a:pt x="196126" y="720030"/>
                </a:cubicBezTo>
                <a:cubicBezTo>
                  <a:pt x="196126" y="707020"/>
                  <a:pt x="192265" y="700352"/>
                  <a:pt x="169253" y="673354"/>
                </a:cubicBezTo>
                <a:cubicBezTo>
                  <a:pt x="156619" y="658564"/>
                  <a:pt x="148522" y="645128"/>
                  <a:pt x="144837" y="632870"/>
                </a:cubicBezTo>
                <a:cubicBezTo>
                  <a:pt x="134735" y="599354"/>
                  <a:pt x="143885" y="561527"/>
                  <a:pt x="168175" y="536334"/>
                </a:cubicBezTo>
                <a:cubicBezTo>
                  <a:pt x="173540" y="530744"/>
                  <a:pt x="182038" y="520266"/>
                  <a:pt x="187026" y="513046"/>
                </a:cubicBezTo>
                <a:lnTo>
                  <a:pt x="196126" y="499911"/>
                </a:lnTo>
                <a:lnTo>
                  <a:pt x="196126" y="392420"/>
                </a:lnTo>
                <a:cubicBezTo>
                  <a:pt x="196126" y="326993"/>
                  <a:pt x="197630" y="277911"/>
                  <a:pt x="199987" y="267032"/>
                </a:cubicBezTo>
                <a:cubicBezTo>
                  <a:pt x="210390" y="218827"/>
                  <a:pt x="248668" y="171448"/>
                  <a:pt x="294868" y="149564"/>
                </a:cubicBezTo>
                <a:cubicBezTo>
                  <a:pt x="312164" y="141367"/>
                  <a:pt x="327080" y="130062"/>
                  <a:pt x="350819" y="107175"/>
                </a:cubicBezTo>
                <a:cubicBezTo>
                  <a:pt x="400979" y="58819"/>
                  <a:pt x="454198" y="28938"/>
                  <a:pt x="520903" y="11742"/>
                </a:cubicBezTo>
                <a:cubicBezTo>
                  <a:pt x="550358" y="4146"/>
                  <a:pt x="561488" y="3069"/>
                  <a:pt x="610470" y="3069"/>
                </a:cubicBezTo>
                <a:cubicBezTo>
                  <a:pt x="659728" y="3069"/>
                  <a:pt x="670608" y="4146"/>
                  <a:pt x="701391" y="11967"/>
                </a:cubicBezTo>
                <a:cubicBezTo>
                  <a:pt x="831467" y="45057"/>
                  <a:pt x="933568" y="143724"/>
                  <a:pt x="967786" y="269388"/>
                </a:cubicBezTo>
                <a:cubicBezTo>
                  <a:pt x="976459" y="301249"/>
                  <a:pt x="977060" y="308794"/>
                  <a:pt x="978540" y="401169"/>
                </a:cubicBezTo>
                <a:cubicBezTo>
                  <a:pt x="980269" y="508384"/>
                  <a:pt x="979768" y="505702"/>
                  <a:pt x="1003006" y="531245"/>
                </a:cubicBezTo>
                <a:cubicBezTo>
                  <a:pt x="1044843" y="577194"/>
                  <a:pt x="1045971" y="626828"/>
                  <a:pt x="1006264" y="673354"/>
                </a:cubicBezTo>
                <a:cubicBezTo>
                  <a:pt x="983227" y="700352"/>
                  <a:pt x="979392" y="707020"/>
                  <a:pt x="979392" y="720030"/>
                </a:cubicBezTo>
                <a:cubicBezTo>
                  <a:pt x="979392" y="735422"/>
                  <a:pt x="984355" y="745073"/>
                  <a:pt x="1002379" y="764701"/>
                </a:cubicBezTo>
                <a:cubicBezTo>
                  <a:pt x="1042362" y="808193"/>
                  <a:pt x="1045545" y="860134"/>
                  <a:pt x="1010852" y="902548"/>
                </a:cubicBezTo>
                <a:cubicBezTo>
                  <a:pt x="1003156" y="911949"/>
                  <a:pt x="996864" y="920296"/>
                  <a:pt x="996864" y="921099"/>
                </a:cubicBezTo>
                <a:cubicBezTo>
                  <a:pt x="996864" y="923104"/>
                  <a:pt x="1035794" y="944211"/>
                  <a:pt x="1037022" y="942857"/>
                </a:cubicBezTo>
                <a:cubicBezTo>
                  <a:pt x="1037549" y="942280"/>
                  <a:pt x="1042312" y="933432"/>
                  <a:pt x="1047601" y="923229"/>
                </a:cubicBezTo>
                <a:cubicBezTo>
                  <a:pt x="1072192" y="875726"/>
                  <a:pt x="1123707" y="819349"/>
                  <a:pt x="1168954" y="790470"/>
                </a:cubicBezTo>
                <a:cubicBezTo>
                  <a:pt x="1201016" y="770015"/>
                  <a:pt x="1244257" y="751540"/>
                  <a:pt x="1281859" y="742240"/>
                </a:cubicBezTo>
                <a:cubicBezTo>
                  <a:pt x="1447932" y="701179"/>
                  <a:pt x="1619646" y="778137"/>
                  <a:pt x="1697030" y="928293"/>
                </a:cubicBezTo>
                <a:cubicBezTo>
                  <a:pt x="1723602" y="979857"/>
                  <a:pt x="1732902" y="1021094"/>
                  <a:pt x="1732476" y="1085417"/>
                </a:cubicBezTo>
                <a:cubicBezTo>
                  <a:pt x="1732200" y="1126578"/>
                  <a:pt x="1730721" y="1139639"/>
                  <a:pt x="1723176" y="1167188"/>
                </a:cubicBezTo>
                <a:cubicBezTo>
                  <a:pt x="1707659" y="1223791"/>
                  <a:pt x="1672038" y="1286987"/>
                  <a:pt x="1636943" y="1320101"/>
                </a:cubicBezTo>
                <a:lnTo>
                  <a:pt x="1622780" y="1333437"/>
                </a:lnTo>
                <a:lnTo>
                  <a:pt x="1622780" y="1494949"/>
                </a:lnTo>
                <a:cubicBezTo>
                  <a:pt x="1622780" y="1583788"/>
                  <a:pt x="1621602" y="1656410"/>
                  <a:pt x="1620173" y="1656360"/>
                </a:cubicBezTo>
                <a:cubicBezTo>
                  <a:pt x="1618719" y="1656310"/>
                  <a:pt x="1562066" y="1642798"/>
                  <a:pt x="1494283" y="1626353"/>
                </a:cubicBezTo>
                <a:lnTo>
                  <a:pt x="1371025" y="1596448"/>
                </a:lnTo>
                <a:lnTo>
                  <a:pt x="1247767" y="1626353"/>
                </a:lnTo>
                <a:cubicBezTo>
                  <a:pt x="1179958" y="1642798"/>
                  <a:pt x="1123331" y="1656310"/>
                  <a:pt x="1121877" y="1656360"/>
                </a:cubicBezTo>
                <a:cubicBezTo>
                  <a:pt x="1120448" y="1656410"/>
                  <a:pt x="1119245" y="1630615"/>
                  <a:pt x="1119245" y="1599005"/>
                </a:cubicBezTo>
                <a:close/>
                <a:moveTo>
                  <a:pt x="1468939" y="1564386"/>
                </a:moveTo>
                <a:lnTo>
                  <a:pt x="1566828" y="1588050"/>
                </a:lnTo>
                <a:lnTo>
                  <a:pt x="1566828" y="1483443"/>
                </a:lnTo>
                <a:cubicBezTo>
                  <a:pt x="1566828" y="1425887"/>
                  <a:pt x="1565650" y="1379387"/>
                  <a:pt x="1564222" y="1380113"/>
                </a:cubicBezTo>
                <a:cubicBezTo>
                  <a:pt x="1519902" y="1401947"/>
                  <a:pt x="1486863" y="1415233"/>
                  <a:pt x="1459414" y="1422302"/>
                </a:cubicBezTo>
                <a:cubicBezTo>
                  <a:pt x="1429558" y="1429998"/>
                  <a:pt x="1418327" y="1431101"/>
                  <a:pt x="1371025" y="1431101"/>
                </a:cubicBezTo>
                <a:cubicBezTo>
                  <a:pt x="1296473" y="1431101"/>
                  <a:pt x="1263860" y="1422503"/>
                  <a:pt x="1177828" y="1380113"/>
                </a:cubicBezTo>
                <a:cubicBezTo>
                  <a:pt x="1176374" y="1379387"/>
                  <a:pt x="1175196" y="1425887"/>
                  <a:pt x="1175196" y="1483443"/>
                </a:cubicBezTo>
                <a:lnTo>
                  <a:pt x="1175196" y="1588050"/>
                </a:lnTo>
                <a:lnTo>
                  <a:pt x="1273110" y="1564386"/>
                </a:lnTo>
                <a:lnTo>
                  <a:pt x="1371025" y="1540722"/>
                </a:lnTo>
                <a:close/>
                <a:moveTo>
                  <a:pt x="224077" y="1298292"/>
                </a:moveTo>
                <a:lnTo>
                  <a:pt x="224077" y="1109056"/>
                </a:lnTo>
                <a:lnTo>
                  <a:pt x="252052" y="1109056"/>
                </a:lnTo>
                <a:lnTo>
                  <a:pt x="280028" y="1109056"/>
                </a:lnTo>
                <a:lnTo>
                  <a:pt x="280028" y="1298292"/>
                </a:lnTo>
                <a:lnTo>
                  <a:pt x="280028" y="1487503"/>
                </a:lnTo>
                <a:lnTo>
                  <a:pt x="391930" y="1487503"/>
                </a:lnTo>
                <a:lnTo>
                  <a:pt x="503832" y="1487503"/>
                </a:lnTo>
                <a:lnTo>
                  <a:pt x="503832" y="1359608"/>
                </a:lnTo>
                <a:lnTo>
                  <a:pt x="503832" y="1231712"/>
                </a:lnTo>
                <a:lnTo>
                  <a:pt x="524814" y="1214090"/>
                </a:lnTo>
                <a:lnTo>
                  <a:pt x="545796" y="1196442"/>
                </a:lnTo>
                <a:lnTo>
                  <a:pt x="521229" y="1170497"/>
                </a:lnTo>
                <a:cubicBezTo>
                  <a:pt x="454348" y="1099831"/>
                  <a:pt x="410981" y="1021394"/>
                  <a:pt x="379471" y="914054"/>
                </a:cubicBezTo>
                <a:cubicBezTo>
                  <a:pt x="378569" y="911021"/>
                  <a:pt x="373455" y="911598"/>
                  <a:pt x="359743" y="916235"/>
                </a:cubicBezTo>
                <a:cubicBezTo>
                  <a:pt x="234755" y="958625"/>
                  <a:pt x="205251" y="969354"/>
                  <a:pt x="186851" y="979231"/>
                </a:cubicBezTo>
                <a:cubicBezTo>
                  <a:pt x="139022" y="1004850"/>
                  <a:pt x="104704" y="1040747"/>
                  <a:pt x="80464" y="1090481"/>
                </a:cubicBezTo>
                <a:cubicBezTo>
                  <a:pt x="57426" y="1137759"/>
                  <a:pt x="56248" y="1149490"/>
                  <a:pt x="56248" y="1328549"/>
                </a:cubicBezTo>
                <a:lnTo>
                  <a:pt x="56248" y="1487503"/>
                </a:lnTo>
                <a:lnTo>
                  <a:pt x="140175" y="1487503"/>
                </a:lnTo>
                <a:lnTo>
                  <a:pt x="224077" y="1487503"/>
                </a:lnTo>
                <a:close/>
                <a:moveTo>
                  <a:pt x="895465" y="1311804"/>
                </a:moveTo>
                <a:lnTo>
                  <a:pt x="895465" y="1136104"/>
                </a:lnTo>
                <a:lnTo>
                  <a:pt x="923440" y="1136104"/>
                </a:lnTo>
                <a:lnTo>
                  <a:pt x="951416" y="1136104"/>
                </a:lnTo>
                <a:lnTo>
                  <a:pt x="951416" y="1311804"/>
                </a:lnTo>
                <a:lnTo>
                  <a:pt x="951416" y="1487503"/>
                </a:lnTo>
                <a:lnTo>
                  <a:pt x="1035343" y="1487503"/>
                </a:lnTo>
                <a:lnTo>
                  <a:pt x="1119245" y="1487503"/>
                </a:lnTo>
                <a:lnTo>
                  <a:pt x="1119245" y="1410470"/>
                </a:lnTo>
                <a:lnTo>
                  <a:pt x="1119245" y="1333437"/>
                </a:lnTo>
                <a:lnTo>
                  <a:pt x="1105106" y="1320101"/>
                </a:lnTo>
                <a:cubicBezTo>
                  <a:pt x="1064823" y="1282098"/>
                  <a:pt x="1028198" y="1212987"/>
                  <a:pt x="1013810" y="1147911"/>
                </a:cubicBezTo>
                <a:cubicBezTo>
                  <a:pt x="1008094" y="1122016"/>
                  <a:pt x="1007969" y="1041925"/>
                  <a:pt x="1013609" y="1018236"/>
                </a:cubicBezTo>
                <a:cubicBezTo>
                  <a:pt x="1018848" y="996327"/>
                  <a:pt x="1017946" y="994923"/>
                  <a:pt x="988466" y="979130"/>
                </a:cubicBezTo>
                <a:cubicBezTo>
                  <a:pt x="970217" y="969354"/>
                  <a:pt x="940687" y="958600"/>
                  <a:pt x="815750" y="916235"/>
                </a:cubicBezTo>
                <a:cubicBezTo>
                  <a:pt x="802038" y="911598"/>
                  <a:pt x="796899" y="911021"/>
                  <a:pt x="796021" y="914054"/>
                </a:cubicBezTo>
                <a:cubicBezTo>
                  <a:pt x="755888" y="1050724"/>
                  <a:pt x="698658" y="1138887"/>
                  <a:pt x="591694" y="1228830"/>
                </a:cubicBezTo>
                <a:lnTo>
                  <a:pt x="559758" y="1255702"/>
                </a:lnTo>
                <a:lnTo>
                  <a:pt x="559758" y="1371590"/>
                </a:lnTo>
                <a:lnTo>
                  <a:pt x="559758" y="1487503"/>
                </a:lnTo>
                <a:lnTo>
                  <a:pt x="727612" y="1487503"/>
                </a:lnTo>
                <a:lnTo>
                  <a:pt x="895440" y="1487503"/>
                </a:lnTo>
                <a:close/>
                <a:moveTo>
                  <a:pt x="615734" y="1406410"/>
                </a:moveTo>
                <a:lnTo>
                  <a:pt x="615734" y="1379387"/>
                </a:lnTo>
                <a:lnTo>
                  <a:pt x="643710" y="1379387"/>
                </a:lnTo>
                <a:lnTo>
                  <a:pt x="671661" y="1379387"/>
                </a:lnTo>
                <a:lnTo>
                  <a:pt x="671661" y="1406410"/>
                </a:lnTo>
                <a:lnTo>
                  <a:pt x="671661" y="1433432"/>
                </a:lnTo>
                <a:lnTo>
                  <a:pt x="643710" y="1433432"/>
                </a:lnTo>
                <a:lnTo>
                  <a:pt x="615734" y="1433432"/>
                </a:lnTo>
                <a:close/>
                <a:moveTo>
                  <a:pt x="615734" y="1298292"/>
                </a:moveTo>
                <a:lnTo>
                  <a:pt x="615734" y="1271244"/>
                </a:lnTo>
                <a:lnTo>
                  <a:pt x="643710" y="1271244"/>
                </a:lnTo>
                <a:lnTo>
                  <a:pt x="671661" y="1271244"/>
                </a:lnTo>
                <a:lnTo>
                  <a:pt x="671661" y="1298292"/>
                </a:lnTo>
                <a:lnTo>
                  <a:pt x="671661" y="1325316"/>
                </a:lnTo>
                <a:lnTo>
                  <a:pt x="643710" y="1325316"/>
                </a:lnTo>
                <a:lnTo>
                  <a:pt x="615734" y="1325316"/>
                </a:lnTo>
                <a:close/>
                <a:moveTo>
                  <a:pt x="1427452" y="1374022"/>
                </a:moveTo>
                <a:cubicBezTo>
                  <a:pt x="1489445" y="1362666"/>
                  <a:pt x="1545020" y="1333964"/>
                  <a:pt x="1589640" y="1290246"/>
                </a:cubicBezTo>
                <a:cubicBezTo>
                  <a:pt x="1661885" y="1219480"/>
                  <a:pt x="1692794" y="1119259"/>
                  <a:pt x="1672113" y="1022898"/>
                </a:cubicBezTo>
                <a:cubicBezTo>
                  <a:pt x="1659529" y="964315"/>
                  <a:pt x="1631854" y="914832"/>
                  <a:pt x="1587961" y="872392"/>
                </a:cubicBezTo>
                <a:cubicBezTo>
                  <a:pt x="1467410" y="755902"/>
                  <a:pt x="1274288" y="755827"/>
                  <a:pt x="1153863" y="872166"/>
                </a:cubicBezTo>
                <a:cubicBezTo>
                  <a:pt x="1034190" y="987829"/>
                  <a:pt x="1033538" y="1173781"/>
                  <a:pt x="1152384" y="1290246"/>
                </a:cubicBezTo>
                <a:cubicBezTo>
                  <a:pt x="1224354" y="1360736"/>
                  <a:pt x="1327858" y="1392271"/>
                  <a:pt x="1427452" y="1374022"/>
                </a:cubicBezTo>
                <a:close/>
                <a:moveTo>
                  <a:pt x="1321566" y="1320201"/>
                </a:moveTo>
                <a:cubicBezTo>
                  <a:pt x="1241074" y="1304710"/>
                  <a:pt x="1169254" y="1247229"/>
                  <a:pt x="1138296" y="1173480"/>
                </a:cubicBezTo>
                <a:cubicBezTo>
                  <a:pt x="1078710" y="1031597"/>
                  <a:pt x="1168703" y="872392"/>
                  <a:pt x="1324775" y="843539"/>
                </a:cubicBezTo>
                <a:cubicBezTo>
                  <a:pt x="1497441" y="811603"/>
                  <a:pt x="1650831" y="960129"/>
                  <a:pt x="1617741" y="1127205"/>
                </a:cubicBezTo>
                <a:cubicBezTo>
                  <a:pt x="1591570" y="1259362"/>
                  <a:pt x="1457910" y="1346447"/>
                  <a:pt x="1321566" y="1320201"/>
                </a:cubicBezTo>
                <a:close/>
                <a:moveTo>
                  <a:pt x="1413890" y="1266306"/>
                </a:moveTo>
                <a:cubicBezTo>
                  <a:pt x="1511705" y="1246277"/>
                  <a:pt x="1578761" y="1151722"/>
                  <a:pt x="1564121" y="1054509"/>
                </a:cubicBezTo>
                <a:cubicBezTo>
                  <a:pt x="1541084" y="901846"/>
                  <a:pt x="1347311" y="839729"/>
                  <a:pt x="1233553" y="948547"/>
                </a:cubicBezTo>
                <a:cubicBezTo>
                  <a:pt x="1138447" y="1039569"/>
                  <a:pt x="1164968" y="1195038"/>
                  <a:pt x="1285143" y="1251015"/>
                </a:cubicBezTo>
                <a:cubicBezTo>
                  <a:pt x="1328159" y="1271044"/>
                  <a:pt x="1367716" y="1275757"/>
                  <a:pt x="1413890" y="1266306"/>
                </a:cubicBezTo>
                <a:close/>
                <a:moveTo>
                  <a:pt x="1307177" y="1211884"/>
                </a:moveTo>
                <a:cubicBezTo>
                  <a:pt x="1286145" y="1201305"/>
                  <a:pt x="1259122" y="1176488"/>
                  <a:pt x="1259122" y="1167740"/>
                </a:cubicBezTo>
                <a:cubicBezTo>
                  <a:pt x="1259122" y="1164055"/>
                  <a:pt x="1262456" y="1151546"/>
                  <a:pt x="1266492" y="1139940"/>
                </a:cubicBezTo>
                <a:cubicBezTo>
                  <a:pt x="1270553" y="1128333"/>
                  <a:pt x="1273311" y="1118381"/>
                  <a:pt x="1272634" y="1117855"/>
                </a:cubicBezTo>
                <a:cubicBezTo>
                  <a:pt x="1271932" y="1117328"/>
                  <a:pt x="1262306" y="1110385"/>
                  <a:pt x="1251251" y="1102438"/>
                </a:cubicBezTo>
                <a:cubicBezTo>
                  <a:pt x="1234230" y="1090205"/>
                  <a:pt x="1231147" y="1086345"/>
                  <a:pt x="1231172" y="1077396"/>
                </a:cubicBezTo>
                <a:cubicBezTo>
                  <a:pt x="1231197" y="1063383"/>
                  <a:pt x="1236762" y="1044131"/>
                  <a:pt x="1247666" y="1020367"/>
                </a:cubicBezTo>
                <a:lnTo>
                  <a:pt x="1256591" y="1000939"/>
                </a:lnTo>
                <a:lnTo>
                  <a:pt x="1283889" y="1000939"/>
                </a:lnTo>
                <a:lnTo>
                  <a:pt x="1311163" y="1000939"/>
                </a:lnTo>
                <a:lnTo>
                  <a:pt x="1319084" y="977175"/>
                </a:lnTo>
                <a:cubicBezTo>
                  <a:pt x="1328284" y="949575"/>
                  <a:pt x="1330139" y="948573"/>
                  <a:pt x="1371025" y="948573"/>
                </a:cubicBezTo>
                <a:cubicBezTo>
                  <a:pt x="1411885" y="948573"/>
                  <a:pt x="1413765" y="949575"/>
                  <a:pt x="1422940" y="977175"/>
                </a:cubicBezTo>
                <a:lnTo>
                  <a:pt x="1430861" y="1000939"/>
                </a:lnTo>
                <a:lnTo>
                  <a:pt x="1456330" y="1000939"/>
                </a:lnTo>
                <a:lnTo>
                  <a:pt x="1481799" y="1000939"/>
                </a:lnTo>
                <a:lnTo>
                  <a:pt x="1490773" y="1016983"/>
                </a:lnTo>
                <a:cubicBezTo>
                  <a:pt x="1501101" y="1035482"/>
                  <a:pt x="1510877" y="1065589"/>
                  <a:pt x="1510877" y="1078850"/>
                </a:cubicBezTo>
                <a:cubicBezTo>
                  <a:pt x="1510877" y="1086019"/>
                  <a:pt x="1506591" y="1091058"/>
                  <a:pt x="1490773" y="1102438"/>
                </a:cubicBezTo>
                <a:cubicBezTo>
                  <a:pt x="1479718" y="1110385"/>
                  <a:pt x="1470118" y="1117328"/>
                  <a:pt x="1469416" y="1117855"/>
                </a:cubicBezTo>
                <a:cubicBezTo>
                  <a:pt x="1468714" y="1118381"/>
                  <a:pt x="1471471" y="1128333"/>
                  <a:pt x="1475532" y="1139940"/>
                </a:cubicBezTo>
                <a:cubicBezTo>
                  <a:pt x="1479593" y="1151546"/>
                  <a:pt x="1482927" y="1164055"/>
                  <a:pt x="1482927" y="1167740"/>
                </a:cubicBezTo>
                <a:cubicBezTo>
                  <a:pt x="1482927" y="1182229"/>
                  <a:pt x="1423216" y="1224844"/>
                  <a:pt x="1411986" y="1218377"/>
                </a:cubicBezTo>
                <a:cubicBezTo>
                  <a:pt x="1409654" y="1217023"/>
                  <a:pt x="1399426" y="1209904"/>
                  <a:pt x="1389274" y="1202559"/>
                </a:cubicBezTo>
                <a:lnTo>
                  <a:pt x="1370824" y="1189223"/>
                </a:lnTo>
                <a:lnTo>
                  <a:pt x="1349943" y="1204890"/>
                </a:lnTo>
                <a:cubicBezTo>
                  <a:pt x="1338462" y="1213513"/>
                  <a:pt x="1327883" y="1220507"/>
                  <a:pt x="1326429" y="1220407"/>
                </a:cubicBezTo>
                <a:cubicBezTo>
                  <a:pt x="1325001" y="1220332"/>
                  <a:pt x="1316327" y="1216497"/>
                  <a:pt x="1307177" y="1211884"/>
                </a:cubicBezTo>
                <a:close/>
                <a:moveTo>
                  <a:pt x="1347912" y="1139263"/>
                </a:moveTo>
                <a:lnTo>
                  <a:pt x="1371301" y="1122141"/>
                </a:lnTo>
                <a:lnTo>
                  <a:pt x="1395190" y="1139263"/>
                </a:lnTo>
                <a:cubicBezTo>
                  <a:pt x="1408325" y="1148663"/>
                  <a:pt x="1419982" y="1156359"/>
                  <a:pt x="1421060" y="1156359"/>
                </a:cubicBezTo>
                <a:cubicBezTo>
                  <a:pt x="1422163" y="1156359"/>
                  <a:pt x="1419205" y="1145455"/>
                  <a:pt x="1414517" y="1132119"/>
                </a:cubicBezTo>
                <a:cubicBezTo>
                  <a:pt x="1409829" y="1118782"/>
                  <a:pt x="1405994" y="1105221"/>
                  <a:pt x="1405994" y="1101987"/>
                </a:cubicBezTo>
                <a:cubicBezTo>
                  <a:pt x="1405994" y="1098628"/>
                  <a:pt x="1415821" y="1089102"/>
                  <a:pt x="1428781" y="1079928"/>
                </a:cubicBezTo>
                <a:cubicBezTo>
                  <a:pt x="1441289" y="1071028"/>
                  <a:pt x="1451016" y="1062155"/>
                  <a:pt x="1450339" y="1060224"/>
                </a:cubicBezTo>
                <a:cubicBezTo>
                  <a:pt x="1449687" y="1058269"/>
                  <a:pt x="1435975" y="1055938"/>
                  <a:pt x="1419907" y="1055010"/>
                </a:cubicBezTo>
                <a:lnTo>
                  <a:pt x="1390653" y="1053305"/>
                </a:lnTo>
                <a:lnTo>
                  <a:pt x="1381879" y="1027110"/>
                </a:lnTo>
                <a:cubicBezTo>
                  <a:pt x="1377041" y="1012721"/>
                  <a:pt x="1372053" y="1000939"/>
                  <a:pt x="1370799" y="1000939"/>
                </a:cubicBezTo>
                <a:cubicBezTo>
                  <a:pt x="1369521" y="1000939"/>
                  <a:pt x="1364908" y="1013097"/>
                  <a:pt x="1360521" y="1027962"/>
                </a:cubicBezTo>
                <a:lnTo>
                  <a:pt x="1352575" y="1054985"/>
                </a:lnTo>
                <a:lnTo>
                  <a:pt x="1321591" y="1054985"/>
                </a:lnTo>
                <a:cubicBezTo>
                  <a:pt x="1298404" y="1054985"/>
                  <a:pt x="1290607" y="1056113"/>
                  <a:pt x="1290607" y="1059422"/>
                </a:cubicBezTo>
                <a:cubicBezTo>
                  <a:pt x="1290607" y="1061854"/>
                  <a:pt x="1300835" y="1071078"/>
                  <a:pt x="1313319" y="1079953"/>
                </a:cubicBezTo>
                <a:cubicBezTo>
                  <a:pt x="1326229" y="1089127"/>
                  <a:pt x="1336055" y="1098628"/>
                  <a:pt x="1336055" y="1101987"/>
                </a:cubicBezTo>
                <a:cubicBezTo>
                  <a:pt x="1336055" y="1105221"/>
                  <a:pt x="1332220" y="1118782"/>
                  <a:pt x="1327507" y="1132119"/>
                </a:cubicBezTo>
                <a:cubicBezTo>
                  <a:pt x="1322819" y="1145455"/>
                  <a:pt x="1320238" y="1156359"/>
                  <a:pt x="1321742" y="1156359"/>
                </a:cubicBezTo>
                <a:cubicBezTo>
                  <a:pt x="1323271" y="1156359"/>
                  <a:pt x="1335053" y="1148663"/>
                  <a:pt x="1347912" y="1139263"/>
                </a:cubicBezTo>
                <a:close/>
                <a:moveTo>
                  <a:pt x="611874" y="1134751"/>
                </a:moveTo>
                <a:cubicBezTo>
                  <a:pt x="624057" y="1122869"/>
                  <a:pt x="633457" y="1111638"/>
                  <a:pt x="632755" y="1109783"/>
                </a:cubicBezTo>
                <a:cubicBezTo>
                  <a:pt x="630650" y="1104344"/>
                  <a:pt x="589664" y="1048493"/>
                  <a:pt x="587759" y="1048493"/>
                </a:cubicBezTo>
                <a:cubicBezTo>
                  <a:pt x="585829" y="1048493"/>
                  <a:pt x="544843" y="1104344"/>
                  <a:pt x="542762" y="1109783"/>
                </a:cubicBezTo>
                <a:cubicBezTo>
                  <a:pt x="541559" y="1112942"/>
                  <a:pt x="583497" y="1156359"/>
                  <a:pt x="587759" y="1156359"/>
                </a:cubicBezTo>
                <a:cubicBezTo>
                  <a:pt x="588812" y="1156359"/>
                  <a:pt x="599666" y="1146633"/>
                  <a:pt x="611874" y="1134751"/>
                </a:cubicBezTo>
                <a:close/>
                <a:moveTo>
                  <a:pt x="529903" y="1032876"/>
                </a:moveTo>
                <a:lnTo>
                  <a:pt x="553567" y="1000588"/>
                </a:lnTo>
                <a:lnTo>
                  <a:pt x="513834" y="942882"/>
                </a:lnTo>
                <a:cubicBezTo>
                  <a:pt x="491975" y="911147"/>
                  <a:pt x="473149" y="883722"/>
                  <a:pt x="471946" y="881943"/>
                </a:cubicBezTo>
                <a:cubicBezTo>
                  <a:pt x="468662" y="876954"/>
                  <a:pt x="433893" y="889964"/>
                  <a:pt x="433893" y="896206"/>
                </a:cubicBezTo>
                <a:cubicBezTo>
                  <a:pt x="433893" y="906083"/>
                  <a:pt x="448332" y="951706"/>
                  <a:pt x="460590" y="980484"/>
                </a:cubicBezTo>
                <a:cubicBezTo>
                  <a:pt x="470417" y="1003621"/>
                  <a:pt x="503180" y="1065137"/>
                  <a:pt x="505662" y="1065137"/>
                </a:cubicBezTo>
                <a:cubicBezTo>
                  <a:pt x="505963" y="1065137"/>
                  <a:pt x="516893" y="1050623"/>
                  <a:pt x="529903" y="1032876"/>
                </a:cubicBezTo>
                <a:close/>
                <a:moveTo>
                  <a:pt x="701441" y="1009086"/>
                </a:moveTo>
                <a:cubicBezTo>
                  <a:pt x="718136" y="975896"/>
                  <a:pt x="736410" y="926338"/>
                  <a:pt x="739970" y="904629"/>
                </a:cubicBezTo>
                <a:lnTo>
                  <a:pt x="742176" y="891118"/>
                </a:lnTo>
                <a:lnTo>
                  <a:pt x="723927" y="884901"/>
                </a:lnTo>
                <a:cubicBezTo>
                  <a:pt x="712872" y="881140"/>
                  <a:pt x="704850" y="879962"/>
                  <a:pt x="703547" y="881943"/>
                </a:cubicBezTo>
                <a:cubicBezTo>
                  <a:pt x="702368" y="883722"/>
                  <a:pt x="683517" y="911147"/>
                  <a:pt x="661658" y="942882"/>
                </a:cubicBezTo>
                <a:lnTo>
                  <a:pt x="621926" y="1000588"/>
                </a:lnTo>
                <a:lnTo>
                  <a:pt x="645715" y="1033051"/>
                </a:lnTo>
                <a:lnTo>
                  <a:pt x="669530" y="1065489"/>
                </a:lnTo>
                <a:lnTo>
                  <a:pt x="677752" y="1052629"/>
                </a:lnTo>
                <a:cubicBezTo>
                  <a:pt x="682289" y="1045585"/>
                  <a:pt x="692943" y="1025982"/>
                  <a:pt x="701441" y="1009086"/>
                </a:cubicBezTo>
                <a:close/>
                <a:moveTo>
                  <a:pt x="624458" y="899089"/>
                </a:moveTo>
                <a:cubicBezTo>
                  <a:pt x="643710" y="871013"/>
                  <a:pt x="660004" y="846597"/>
                  <a:pt x="660706" y="844792"/>
                </a:cubicBezTo>
                <a:cubicBezTo>
                  <a:pt x="661408" y="843013"/>
                  <a:pt x="659227" y="835642"/>
                  <a:pt x="655868" y="828473"/>
                </a:cubicBezTo>
                <a:lnTo>
                  <a:pt x="649776" y="815413"/>
                </a:lnTo>
                <a:lnTo>
                  <a:pt x="637117" y="821504"/>
                </a:lnTo>
                <a:cubicBezTo>
                  <a:pt x="630148" y="824838"/>
                  <a:pt x="616211" y="830403"/>
                  <a:pt x="606108" y="833838"/>
                </a:cubicBezTo>
                <a:cubicBezTo>
                  <a:pt x="588260" y="839904"/>
                  <a:pt x="587257" y="839904"/>
                  <a:pt x="569384" y="833838"/>
                </a:cubicBezTo>
                <a:cubicBezTo>
                  <a:pt x="559307" y="830403"/>
                  <a:pt x="545344" y="824838"/>
                  <a:pt x="538376" y="821504"/>
                </a:cubicBezTo>
                <a:lnTo>
                  <a:pt x="525716" y="815413"/>
                </a:lnTo>
                <a:lnTo>
                  <a:pt x="519625" y="828473"/>
                </a:lnTo>
                <a:cubicBezTo>
                  <a:pt x="516266" y="835642"/>
                  <a:pt x="514110" y="843013"/>
                  <a:pt x="514787" y="844792"/>
                </a:cubicBezTo>
                <a:cubicBezTo>
                  <a:pt x="517093" y="850683"/>
                  <a:pt x="585954" y="950102"/>
                  <a:pt x="587759" y="950102"/>
                </a:cubicBezTo>
                <a:cubicBezTo>
                  <a:pt x="588711" y="950102"/>
                  <a:pt x="605231" y="927140"/>
                  <a:pt x="624458" y="899089"/>
                </a:cubicBezTo>
                <a:close/>
                <a:moveTo>
                  <a:pt x="354654" y="861061"/>
                </a:moveTo>
                <a:cubicBezTo>
                  <a:pt x="406269" y="843489"/>
                  <a:pt x="451716" y="826342"/>
                  <a:pt x="455677" y="822958"/>
                </a:cubicBezTo>
                <a:cubicBezTo>
                  <a:pt x="459638" y="819549"/>
                  <a:pt x="466005" y="810048"/>
                  <a:pt x="469790" y="801826"/>
                </a:cubicBezTo>
                <a:lnTo>
                  <a:pt x="476709" y="786886"/>
                </a:lnTo>
                <a:lnTo>
                  <a:pt x="466657" y="780168"/>
                </a:lnTo>
                <a:cubicBezTo>
                  <a:pt x="448207" y="767834"/>
                  <a:pt x="390075" y="708900"/>
                  <a:pt x="376112" y="688370"/>
                </a:cubicBezTo>
                <a:cubicBezTo>
                  <a:pt x="356785" y="659918"/>
                  <a:pt x="337057" y="621289"/>
                  <a:pt x="328709" y="595469"/>
                </a:cubicBezTo>
                <a:cubicBezTo>
                  <a:pt x="312666" y="545910"/>
                  <a:pt x="310886" y="531797"/>
                  <a:pt x="309056" y="440876"/>
                </a:cubicBezTo>
                <a:lnTo>
                  <a:pt x="307251" y="352162"/>
                </a:lnTo>
                <a:lnTo>
                  <a:pt x="358490" y="352162"/>
                </a:lnTo>
                <a:cubicBezTo>
                  <a:pt x="454298" y="352162"/>
                  <a:pt x="508570" y="333336"/>
                  <a:pt x="565799" y="280242"/>
                </a:cubicBezTo>
                <a:lnTo>
                  <a:pt x="587759" y="259862"/>
                </a:lnTo>
                <a:lnTo>
                  <a:pt x="609718" y="280242"/>
                </a:lnTo>
                <a:cubicBezTo>
                  <a:pt x="666697" y="333110"/>
                  <a:pt x="721596" y="352162"/>
                  <a:pt x="817003" y="352162"/>
                </a:cubicBezTo>
                <a:lnTo>
                  <a:pt x="868241" y="352162"/>
                </a:lnTo>
                <a:lnTo>
                  <a:pt x="866462" y="440876"/>
                </a:lnTo>
                <a:cubicBezTo>
                  <a:pt x="864632" y="531797"/>
                  <a:pt x="862827" y="545910"/>
                  <a:pt x="846783" y="595469"/>
                </a:cubicBezTo>
                <a:cubicBezTo>
                  <a:pt x="838436" y="621289"/>
                  <a:pt x="818708" y="659918"/>
                  <a:pt x="799381" y="688370"/>
                </a:cubicBezTo>
                <a:cubicBezTo>
                  <a:pt x="785443" y="708900"/>
                  <a:pt x="727311" y="767834"/>
                  <a:pt x="708836" y="780168"/>
                </a:cubicBezTo>
                <a:lnTo>
                  <a:pt x="698784" y="786886"/>
                </a:lnTo>
                <a:lnTo>
                  <a:pt x="705703" y="801826"/>
                </a:lnTo>
                <a:cubicBezTo>
                  <a:pt x="709513" y="810048"/>
                  <a:pt x="715780" y="819499"/>
                  <a:pt x="719640" y="822808"/>
                </a:cubicBezTo>
                <a:cubicBezTo>
                  <a:pt x="726258" y="828473"/>
                  <a:pt x="926950" y="899365"/>
                  <a:pt x="936777" y="899490"/>
                </a:cubicBezTo>
                <a:cubicBezTo>
                  <a:pt x="941815" y="899565"/>
                  <a:pt x="954700" y="886029"/>
                  <a:pt x="970066" y="864471"/>
                </a:cubicBezTo>
                <a:cubicBezTo>
                  <a:pt x="978389" y="852839"/>
                  <a:pt x="979768" y="848001"/>
                  <a:pt x="978490" y="834790"/>
                </a:cubicBezTo>
                <a:cubicBezTo>
                  <a:pt x="977236" y="821805"/>
                  <a:pt x="973751" y="815288"/>
                  <a:pt x="958736" y="797916"/>
                </a:cubicBezTo>
                <a:cubicBezTo>
                  <a:pt x="935473" y="771043"/>
                  <a:pt x="927602" y="755952"/>
                  <a:pt x="924819" y="732915"/>
                </a:cubicBezTo>
                <a:cubicBezTo>
                  <a:pt x="921485" y="705591"/>
                  <a:pt x="928329" y="683281"/>
                  <a:pt x="947430" y="659216"/>
                </a:cubicBezTo>
                <a:cubicBezTo>
                  <a:pt x="981272" y="616576"/>
                  <a:pt x="980119" y="618681"/>
                  <a:pt x="978464" y="601510"/>
                </a:cubicBezTo>
                <a:cubicBezTo>
                  <a:pt x="977411" y="590506"/>
                  <a:pt x="973827" y="581882"/>
                  <a:pt x="966808" y="573509"/>
                </a:cubicBezTo>
                <a:cubicBezTo>
                  <a:pt x="961218" y="566842"/>
                  <a:pt x="951592" y="555310"/>
                  <a:pt x="945375" y="547865"/>
                </a:cubicBezTo>
                <a:cubicBezTo>
                  <a:pt x="925923" y="524527"/>
                  <a:pt x="923440" y="509587"/>
                  <a:pt x="923440" y="416210"/>
                </a:cubicBezTo>
                <a:cubicBezTo>
                  <a:pt x="923440" y="356749"/>
                  <a:pt x="921912" y="324337"/>
                  <a:pt x="918126" y="303330"/>
                </a:cubicBezTo>
                <a:cubicBezTo>
                  <a:pt x="896042" y="180949"/>
                  <a:pt x="795044" y="83235"/>
                  <a:pt x="666346" y="59722"/>
                </a:cubicBezTo>
                <a:cubicBezTo>
                  <a:pt x="559608" y="40244"/>
                  <a:pt x="439458" y="82709"/>
                  <a:pt x="371124" y="164103"/>
                </a:cubicBezTo>
                <a:cubicBezTo>
                  <a:pt x="359743" y="177690"/>
                  <a:pt x="348488" y="187617"/>
                  <a:pt x="343148" y="188820"/>
                </a:cubicBezTo>
                <a:cubicBezTo>
                  <a:pt x="324974" y="192932"/>
                  <a:pt x="293063" y="211933"/>
                  <a:pt x="281557" y="225520"/>
                </a:cubicBezTo>
                <a:cubicBezTo>
                  <a:pt x="275014" y="233215"/>
                  <a:pt x="266115" y="247003"/>
                  <a:pt x="261753" y="256152"/>
                </a:cubicBezTo>
                <a:cubicBezTo>
                  <a:pt x="254082" y="272170"/>
                  <a:pt x="253757" y="277009"/>
                  <a:pt x="252052" y="392721"/>
                </a:cubicBezTo>
                <a:cubicBezTo>
                  <a:pt x="250072" y="529215"/>
                  <a:pt x="250448" y="527285"/>
                  <a:pt x="219113" y="561377"/>
                </a:cubicBezTo>
                <a:cubicBezTo>
                  <a:pt x="200814" y="581281"/>
                  <a:pt x="196126" y="590606"/>
                  <a:pt x="196126" y="607000"/>
                </a:cubicBezTo>
                <a:cubicBezTo>
                  <a:pt x="196126" y="618180"/>
                  <a:pt x="198106" y="621439"/>
                  <a:pt x="228087" y="659216"/>
                </a:cubicBezTo>
                <a:cubicBezTo>
                  <a:pt x="247189" y="683281"/>
                  <a:pt x="254007" y="705591"/>
                  <a:pt x="250698" y="732915"/>
                </a:cubicBezTo>
                <a:cubicBezTo>
                  <a:pt x="247891" y="755952"/>
                  <a:pt x="240020" y="771043"/>
                  <a:pt x="216857" y="797816"/>
                </a:cubicBezTo>
                <a:cubicBezTo>
                  <a:pt x="202794" y="814084"/>
                  <a:pt x="198332" y="822081"/>
                  <a:pt x="197028" y="833362"/>
                </a:cubicBezTo>
                <a:cubicBezTo>
                  <a:pt x="195048" y="850257"/>
                  <a:pt x="198106" y="856875"/>
                  <a:pt x="220016" y="883221"/>
                </a:cubicBezTo>
                <a:lnTo>
                  <a:pt x="235933" y="902373"/>
                </a:lnTo>
                <a:lnTo>
                  <a:pt x="248367" y="897685"/>
                </a:lnTo>
                <a:cubicBezTo>
                  <a:pt x="255210" y="895103"/>
                  <a:pt x="303040" y="878634"/>
                  <a:pt x="354654" y="861061"/>
                </a:cubicBezTo>
                <a:close/>
                <a:moveTo>
                  <a:pt x="627140" y="765453"/>
                </a:moveTo>
                <a:cubicBezTo>
                  <a:pt x="692968" y="732589"/>
                  <a:pt x="743028" y="683832"/>
                  <a:pt x="775616" y="620812"/>
                </a:cubicBezTo>
                <a:cubicBezTo>
                  <a:pt x="801035" y="571629"/>
                  <a:pt x="811538" y="522697"/>
                  <a:pt x="811538" y="453611"/>
                </a:cubicBezTo>
                <a:lnTo>
                  <a:pt x="811538" y="407261"/>
                </a:lnTo>
                <a:lnTo>
                  <a:pt x="775691" y="405205"/>
                </a:lnTo>
                <a:cubicBezTo>
                  <a:pt x="713649" y="401696"/>
                  <a:pt x="659051" y="383672"/>
                  <a:pt x="610044" y="350557"/>
                </a:cubicBezTo>
                <a:lnTo>
                  <a:pt x="587759" y="335517"/>
                </a:lnTo>
                <a:lnTo>
                  <a:pt x="565449" y="350557"/>
                </a:lnTo>
                <a:cubicBezTo>
                  <a:pt x="516441" y="383672"/>
                  <a:pt x="461844" y="401696"/>
                  <a:pt x="399801" y="405205"/>
                </a:cubicBezTo>
                <a:lnTo>
                  <a:pt x="363954" y="407261"/>
                </a:lnTo>
                <a:lnTo>
                  <a:pt x="363954" y="453611"/>
                </a:lnTo>
                <a:cubicBezTo>
                  <a:pt x="363954" y="522697"/>
                  <a:pt x="374483" y="571629"/>
                  <a:pt x="399901" y="620812"/>
                </a:cubicBezTo>
                <a:cubicBezTo>
                  <a:pt x="422061" y="663678"/>
                  <a:pt x="453471" y="701305"/>
                  <a:pt x="491574" y="730609"/>
                </a:cubicBezTo>
                <a:cubicBezTo>
                  <a:pt x="517519" y="750563"/>
                  <a:pt x="575275" y="781145"/>
                  <a:pt x="587182" y="781246"/>
                </a:cubicBezTo>
                <a:cubicBezTo>
                  <a:pt x="591694" y="781271"/>
                  <a:pt x="609668" y="774177"/>
                  <a:pt x="627140" y="765453"/>
                </a:cubicBezTo>
                <a:close/>
                <a:moveTo>
                  <a:pt x="1340592" y="671198"/>
                </a:moveTo>
                <a:cubicBezTo>
                  <a:pt x="1332521" y="668316"/>
                  <a:pt x="1319686" y="659943"/>
                  <a:pt x="1312041" y="652548"/>
                </a:cubicBezTo>
                <a:cubicBezTo>
                  <a:pt x="1291560" y="632769"/>
                  <a:pt x="1287098" y="616400"/>
                  <a:pt x="1287098" y="561076"/>
                </a:cubicBezTo>
                <a:lnTo>
                  <a:pt x="1287098" y="514375"/>
                </a:lnTo>
                <a:lnTo>
                  <a:pt x="1195300" y="514350"/>
                </a:lnTo>
                <a:cubicBezTo>
                  <a:pt x="1106285" y="514325"/>
                  <a:pt x="1102976" y="514074"/>
                  <a:pt x="1085829" y="506353"/>
                </a:cubicBezTo>
                <a:cubicBezTo>
                  <a:pt x="1065174" y="497053"/>
                  <a:pt x="1045144" y="475946"/>
                  <a:pt x="1039379" y="457396"/>
                </a:cubicBezTo>
                <a:cubicBezTo>
                  <a:pt x="1033513" y="438445"/>
                  <a:pt x="1033689" y="76216"/>
                  <a:pt x="1039579" y="56914"/>
                </a:cubicBezTo>
                <a:cubicBezTo>
                  <a:pt x="1045270" y="38364"/>
                  <a:pt x="1074223" y="10363"/>
                  <a:pt x="1093450" y="4874"/>
                </a:cubicBezTo>
                <a:cubicBezTo>
                  <a:pt x="1113554" y="-867"/>
                  <a:pt x="1655944" y="-1043"/>
                  <a:pt x="1675748" y="4698"/>
                </a:cubicBezTo>
                <a:cubicBezTo>
                  <a:pt x="1694924" y="10263"/>
                  <a:pt x="1716759" y="29615"/>
                  <a:pt x="1726385" y="49594"/>
                </a:cubicBezTo>
                <a:lnTo>
                  <a:pt x="1734607" y="66665"/>
                </a:lnTo>
                <a:lnTo>
                  <a:pt x="1734607" y="257581"/>
                </a:lnTo>
                <a:lnTo>
                  <a:pt x="1734607" y="448497"/>
                </a:lnTo>
                <a:lnTo>
                  <a:pt x="1726360" y="465393"/>
                </a:lnTo>
                <a:cubicBezTo>
                  <a:pt x="1716408" y="485697"/>
                  <a:pt x="1703372" y="498106"/>
                  <a:pt x="1682240" y="507356"/>
                </a:cubicBezTo>
                <a:cubicBezTo>
                  <a:pt x="1668102" y="513523"/>
                  <a:pt x="1659354" y="514249"/>
                  <a:pt x="1596358" y="514299"/>
                </a:cubicBezTo>
                <a:lnTo>
                  <a:pt x="1526219" y="514375"/>
                </a:lnTo>
                <a:lnTo>
                  <a:pt x="1477462" y="584414"/>
                </a:lnTo>
                <a:cubicBezTo>
                  <a:pt x="1436677" y="642997"/>
                  <a:pt x="1426073" y="656032"/>
                  <a:pt x="1412436" y="664104"/>
                </a:cubicBezTo>
                <a:cubicBezTo>
                  <a:pt x="1392257" y="676087"/>
                  <a:pt x="1362552" y="679045"/>
                  <a:pt x="1340618" y="671224"/>
                </a:cubicBezTo>
                <a:close/>
                <a:moveTo>
                  <a:pt x="1383483" y="617729"/>
                </a:moveTo>
                <a:cubicBezTo>
                  <a:pt x="1387344" y="615122"/>
                  <a:pt x="1414066" y="578674"/>
                  <a:pt x="1442844" y="536710"/>
                </a:cubicBezTo>
                <a:lnTo>
                  <a:pt x="1495160" y="460454"/>
                </a:lnTo>
                <a:lnTo>
                  <a:pt x="1578360" y="460379"/>
                </a:lnTo>
                <a:lnTo>
                  <a:pt x="1661560" y="460304"/>
                </a:lnTo>
                <a:lnTo>
                  <a:pt x="1670158" y="452006"/>
                </a:lnTo>
                <a:lnTo>
                  <a:pt x="1678731" y="443734"/>
                </a:lnTo>
                <a:lnTo>
                  <a:pt x="1678731" y="257581"/>
                </a:lnTo>
                <a:lnTo>
                  <a:pt x="1678731" y="71428"/>
                </a:lnTo>
                <a:lnTo>
                  <a:pt x="1670158" y="63131"/>
                </a:lnTo>
                <a:lnTo>
                  <a:pt x="1661560" y="54833"/>
                </a:lnTo>
                <a:lnTo>
                  <a:pt x="1385013" y="54833"/>
                </a:lnTo>
                <a:lnTo>
                  <a:pt x="1108440" y="54833"/>
                </a:lnTo>
                <a:lnTo>
                  <a:pt x="1099867" y="63131"/>
                </a:lnTo>
                <a:lnTo>
                  <a:pt x="1091269" y="71428"/>
                </a:lnTo>
                <a:lnTo>
                  <a:pt x="1091269" y="257581"/>
                </a:lnTo>
                <a:lnTo>
                  <a:pt x="1091269" y="443734"/>
                </a:lnTo>
                <a:lnTo>
                  <a:pt x="1099867" y="452006"/>
                </a:lnTo>
                <a:lnTo>
                  <a:pt x="1108440" y="460304"/>
                </a:lnTo>
                <a:lnTo>
                  <a:pt x="1225757" y="460304"/>
                </a:lnTo>
                <a:lnTo>
                  <a:pt x="1343049" y="460304"/>
                </a:lnTo>
                <a:lnTo>
                  <a:pt x="1343049" y="533100"/>
                </a:lnTo>
                <a:cubicBezTo>
                  <a:pt x="1343049" y="605897"/>
                  <a:pt x="1343049" y="605922"/>
                  <a:pt x="1351622" y="614220"/>
                </a:cubicBezTo>
                <a:cubicBezTo>
                  <a:pt x="1361273" y="623520"/>
                  <a:pt x="1373030" y="624823"/>
                  <a:pt x="1383483" y="617754"/>
                </a:cubicBezTo>
                <a:close/>
                <a:moveTo>
                  <a:pt x="1290583" y="340355"/>
                </a:moveTo>
                <a:lnTo>
                  <a:pt x="1239971" y="291347"/>
                </a:lnTo>
                <a:lnTo>
                  <a:pt x="1260025" y="271970"/>
                </a:lnTo>
                <a:lnTo>
                  <a:pt x="1280079" y="252593"/>
                </a:lnTo>
                <a:lnTo>
                  <a:pt x="1311589" y="282900"/>
                </a:lnTo>
                <a:lnTo>
                  <a:pt x="1343099" y="313231"/>
                </a:lnTo>
                <a:lnTo>
                  <a:pt x="1444473" y="215317"/>
                </a:lnTo>
                <a:lnTo>
                  <a:pt x="1545847" y="117402"/>
                </a:lnTo>
                <a:lnTo>
                  <a:pt x="1565926" y="136805"/>
                </a:lnTo>
                <a:lnTo>
                  <a:pt x="1586005" y="156207"/>
                </a:lnTo>
                <a:lnTo>
                  <a:pt x="1465430" y="272772"/>
                </a:lnTo>
                <a:cubicBezTo>
                  <a:pt x="1399101" y="336895"/>
                  <a:pt x="1344027" y="389337"/>
                  <a:pt x="1343024" y="389337"/>
                </a:cubicBezTo>
                <a:cubicBezTo>
                  <a:pt x="1342022" y="389337"/>
                  <a:pt x="1318433" y="367302"/>
                  <a:pt x="1290583" y="340355"/>
                </a:cubicBezTo>
                <a:close/>
              </a:path>
            </a:pathLst>
          </a:custGeom>
          <a:solidFill>
            <a:srgbClr val="509AAF"/>
          </a:solidFill>
          <a:ln w="342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D0124742-B0CA-4948-BF50-267527886129}"/>
              </a:ext>
            </a:extLst>
          </p:cNvPr>
          <p:cNvSpPr/>
          <p:nvPr/>
        </p:nvSpPr>
        <p:spPr>
          <a:xfrm>
            <a:off x="5483211" y="5419306"/>
            <a:ext cx="457200" cy="457200"/>
          </a:xfrm>
          <a:custGeom>
            <a:avLst/>
            <a:gdLst>
              <a:gd name="connsiteX0" fmla="*/ 620375 w 1699080"/>
              <a:gd name="connsiteY0" fmla="*/ 1497722 h 1498873"/>
              <a:gd name="connsiteX1" fmla="*/ 603781 w 1699080"/>
              <a:gd name="connsiteY1" fmla="*/ 1456561 h 1498873"/>
              <a:gd name="connsiteX2" fmla="*/ 611025 w 1699080"/>
              <a:gd name="connsiteY2" fmla="*/ 1414548 h 1498873"/>
              <a:gd name="connsiteX3" fmla="*/ 620977 w 1699080"/>
              <a:gd name="connsiteY3" fmla="*/ 1403167 h 1498873"/>
              <a:gd name="connsiteX4" fmla="*/ 623684 w 1699080"/>
              <a:gd name="connsiteY4" fmla="*/ 1354260 h 1498873"/>
              <a:gd name="connsiteX5" fmla="*/ 623684 w 1699080"/>
              <a:gd name="connsiteY5" fmla="*/ 1305352 h 1498873"/>
              <a:gd name="connsiteX6" fmla="*/ 597313 w 1699080"/>
              <a:gd name="connsiteY6" fmla="*/ 1271311 h 1498873"/>
              <a:gd name="connsiteX7" fmla="*/ 540234 w 1699080"/>
              <a:gd name="connsiteY7" fmla="*/ 1174624 h 1498873"/>
              <a:gd name="connsiteX8" fmla="*/ 531535 w 1699080"/>
              <a:gd name="connsiteY8" fmla="*/ 1035874 h 1498873"/>
              <a:gd name="connsiteX9" fmla="*/ 535697 w 1699080"/>
              <a:gd name="connsiteY9" fmla="*/ 906450 h 1498873"/>
              <a:gd name="connsiteX10" fmla="*/ 567683 w 1699080"/>
              <a:gd name="connsiteY10" fmla="*/ 870302 h 1498873"/>
              <a:gd name="connsiteX11" fmla="*/ 580367 w 1699080"/>
              <a:gd name="connsiteY11" fmla="*/ 862206 h 1498873"/>
              <a:gd name="connsiteX12" fmla="*/ 512359 w 1699080"/>
              <a:gd name="connsiteY12" fmla="*/ 804450 h 1498873"/>
              <a:gd name="connsiteX13" fmla="*/ 442294 w 1699080"/>
              <a:gd name="connsiteY13" fmla="*/ 739449 h 1498873"/>
              <a:gd name="connsiteX14" fmla="*/ 472576 w 1699080"/>
              <a:gd name="connsiteY14" fmla="*/ 713804 h 1498873"/>
              <a:gd name="connsiteX15" fmla="*/ 562043 w 1699080"/>
              <a:gd name="connsiteY15" fmla="*/ 786075 h 1498873"/>
              <a:gd name="connsiteX16" fmla="*/ 646897 w 1699080"/>
              <a:gd name="connsiteY16" fmla="*/ 855613 h 1498873"/>
              <a:gd name="connsiteX17" fmla="*/ 650256 w 1699080"/>
              <a:gd name="connsiteY17" fmla="*/ 819966 h 1498873"/>
              <a:gd name="connsiteX18" fmla="*/ 650256 w 1699080"/>
              <a:gd name="connsiteY18" fmla="*/ 784345 h 1498873"/>
              <a:gd name="connsiteX19" fmla="*/ 594932 w 1699080"/>
              <a:gd name="connsiteY19" fmla="*/ 737193 h 1498873"/>
              <a:gd name="connsiteX20" fmla="*/ 539582 w 1699080"/>
              <a:gd name="connsiteY20" fmla="*/ 680615 h 1498873"/>
              <a:gd name="connsiteX21" fmla="*/ 563070 w 1699080"/>
              <a:gd name="connsiteY21" fmla="*/ 659408 h 1498873"/>
              <a:gd name="connsiteX22" fmla="*/ 613181 w 1699080"/>
              <a:gd name="connsiteY22" fmla="*/ 692372 h 1498873"/>
              <a:gd name="connsiteX23" fmla="*/ 651911 w 1699080"/>
              <a:gd name="connsiteY23" fmla="*/ 725311 h 1498873"/>
              <a:gd name="connsiteX24" fmla="*/ 653816 w 1699080"/>
              <a:gd name="connsiteY24" fmla="*/ 705959 h 1498873"/>
              <a:gd name="connsiteX25" fmla="*/ 663141 w 1699080"/>
              <a:gd name="connsiteY25" fmla="*/ 675451 h 1498873"/>
              <a:gd name="connsiteX26" fmla="*/ 670611 w 1699080"/>
              <a:gd name="connsiteY26" fmla="*/ 664321 h 1498873"/>
              <a:gd name="connsiteX27" fmla="*/ 643839 w 1699080"/>
              <a:gd name="connsiteY27" fmla="*/ 640582 h 1498873"/>
              <a:gd name="connsiteX28" fmla="*/ 625213 w 1699080"/>
              <a:gd name="connsiteY28" fmla="*/ 593404 h 1498873"/>
              <a:gd name="connsiteX29" fmla="*/ 685727 w 1699080"/>
              <a:gd name="connsiteY29" fmla="*/ 616291 h 1498873"/>
              <a:gd name="connsiteX30" fmla="*/ 712900 w 1699080"/>
              <a:gd name="connsiteY30" fmla="*/ 639855 h 1498873"/>
              <a:gd name="connsiteX31" fmla="*/ 732202 w 1699080"/>
              <a:gd name="connsiteY31" fmla="*/ 640306 h 1498873"/>
              <a:gd name="connsiteX32" fmla="*/ 759827 w 1699080"/>
              <a:gd name="connsiteY32" fmla="*/ 642788 h 1498873"/>
              <a:gd name="connsiteX33" fmla="*/ 774492 w 1699080"/>
              <a:gd name="connsiteY33" fmla="*/ 632560 h 1498873"/>
              <a:gd name="connsiteX34" fmla="*/ 780884 w 1699080"/>
              <a:gd name="connsiteY34" fmla="*/ 620252 h 1498873"/>
              <a:gd name="connsiteX35" fmla="*/ 740826 w 1699080"/>
              <a:gd name="connsiteY35" fmla="*/ 586060 h 1498873"/>
              <a:gd name="connsiteX36" fmla="*/ 697007 w 1699080"/>
              <a:gd name="connsiteY36" fmla="*/ 545675 h 1498873"/>
              <a:gd name="connsiteX37" fmla="*/ 720872 w 1699080"/>
              <a:gd name="connsiteY37" fmla="*/ 515945 h 1498873"/>
              <a:gd name="connsiteX38" fmla="*/ 776497 w 1699080"/>
              <a:gd name="connsiteY38" fmla="*/ 555853 h 1498873"/>
              <a:gd name="connsiteX39" fmla="*/ 822772 w 1699080"/>
              <a:gd name="connsiteY39" fmla="*/ 595761 h 1498873"/>
              <a:gd name="connsiteX40" fmla="*/ 845233 w 1699080"/>
              <a:gd name="connsiteY40" fmla="*/ 596262 h 1498873"/>
              <a:gd name="connsiteX41" fmla="*/ 903214 w 1699080"/>
              <a:gd name="connsiteY41" fmla="*/ 617419 h 1498873"/>
              <a:gd name="connsiteX42" fmla="*/ 925750 w 1699080"/>
              <a:gd name="connsiteY42" fmla="*/ 657152 h 1498873"/>
              <a:gd name="connsiteX43" fmla="*/ 934348 w 1699080"/>
              <a:gd name="connsiteY43" fmla="*/ 659357 h 1498873"/>
              <a:gd name="connsiteX44" fmla="*/ 957937 w 1699080"/>
              <a:gd name="connsiteY44" fmla="*/ 656500 h 1498873"/>
              <a:gd name="connsiteX45" fmla="*/ 970998 w 1699080"/>
              <a:gd name="connsiteY45" fmla="*/ 651862 h 1498873"/>
              <a:gd name="connsiteX46" fmla="*/ 968992 w 1699080"/>
              <a:gd name="connsiteY46" fmla="*/ 644843 h 1498873"/>
              <a:gd name="connsiteX47" fmla="*/ 841172 w 1699080"/>
              <a:gd name="connsiteY47" fmla="*/ 533643 h 1498873"/>
              <a:gd name="connsiteX48" fmla="*/ 711271 w 1699080"/>
              <a:gd name="connsiteY48" fmla="*/ 417404 h 1498873"/>
              <a:gd name="connsiteX49" fmla="*/ 734408 w 1699080"/>
              <a:gd name="connsiteY49" fmla="*/ 393514 h 1498873"/>
              <a:gd name="connsiteX50" fmla="*/ 784494 w 1699080"/>
              <a:gd name="connsiteY50" fmla="*/ 424724 h 1498873"/>
              <a:gd name="connsiteX51" fmla="*/ 853881 w 1699080"/>
              <a:gd name="connsiteY51" fmla="*/ 456309 h 1498873"/>
              <a:gd name="connsiteX52" fmla="*/ 871353 w 1699080"/>
              <a:gd name="connsiteY52" fmla="*/ 414045 h 1498873"/>
              <a:gd name="connsiteX53" fmla="*/ 705029 w 1699080"/>
              <a:gd name="connsiteY53" fmla="*/ 270833 h 1498873"/>
              <a:gd name="connsiteX54" fmla="*/ 630327 w 1699080"/>
              <a:gd name="connsiteY54" fmla="*/ 235262 h 1498873"/>
              <a:gd name="connsiteX55" fmla="*/ 568911 w 1699080"/>
              <a:gd name="connsiteY55" fmla="*/ 224583 h 1498873"/>
              <a:gd name="connsiteX56" fmla="*/ 510879 w 1699080"/>
              <a:gd name="connsiteY56" fmla="*/ 215509 h 1498873"/>
              <a:gd name="connsiteX57" fmla="*/ 464930 w 1699080"/>
              <a:gd name="connsiteY57" fmla="*/ 181166 h 1498873"/>
              <a:gd name="connsiteX58" fmla="*/ 427229 w 1699080"/>
              <a:gd name="connsiteY58" fmla="*/ 148452 h 1498873"/>
              <a:gd name="connsiteX59" fmla="*/ 371904 w 1699080"/>
              <a:gd name="connsiteY59" fmla="*/ 198462 h 1498873"/>
              <a:gd name="connsiteX60" fmla="*/ 242755 w 1699080"/>
              <a:gd name="connsiteY60" fmla="*/ 315930 h 1498873"/>
              <a:gd name="connsiteX61" fmla="*/ 168931 w 1699080"/>
              <a:gd name="connsiteY61" fmla="*/ 383362 h 1498873"/>
              <a:gd name="connsiteX62" fmla="*/ 208864 w 1699080"/>
              <a:gd name="connsiteY62" fmla="*/ 416702 h 1498873"/>
              <a:gd name="connsiteX63" fmla="*/ 258097 w 1699080"/>
              <a:gd name="connsiteY63" fmla="*/ 473481 h 1498873"/>
              <a:gd name="connsiteX64" fmla="*/ 367217 w 1699080"/>
              <a:gd name="connsiteY64" fmla="*/ 619124 h 1498873"/>
              <a:gd name="connsiteX65" fmla="*/ 413216 w 1699080"/>
              <a:gd name="connsiteY65" fmla="*/ 671791 h 1498873"/>
              <a:gd name="connsiteX66" fmla="*/ 392284 w 1699080"/>
              <a:gd name="connsiteY66" fmla="*/ 690442 h 1498873"/>
              <a:gd name="connsiteX67" fmla="*/ 349168 w 1699080"/>
              <a:gd name="connsiteY67" fmla="*/ 665048 h 1498873"/>
              <a:gd name="connsiteX68" fmla="*/ 212148 w 1699080"/>
              <a:gd name="connsiteY68" fmla="*/ 490802 h 1498873"/>
              <a:gd name="connsiteX69" fmla="*/ 165522 w 1699080"/>
              <a:gd name="connsiteY69" fmla="*/ 440291 h 1498873"/>
              <a:gd name="connsiteX70" fmla="*/ 116790 w 1699080"/>
              <a:gd name="connsiteY70" fmla="*/ 407527 h 1498873"/>
              <a:gd name="connsiteX71" fmla="*/ 41085 w 1699080"/>
              <a:gd name="connsiteY71" fmla="*/ 361177 h 1498873"/>
              <a:gd name="connsiteX72" fmla="*/ 6392 w 1699080"/>
              <a:gd name="connsiteY72" fmla="*/ 304048 h 1498873"/>
              <a:gd name="connsiteX73" fmla="*/ 24917 w 1699080"/>
              <a:gd name="connsiteY73" fmla="*/ 296327 h 1498873"/>
              <a:gd name="connsiteX74" fmla="*/ 75579 w 1699080"/>
              <a:gd name="connsiteY74" fmla="*/ 329993 h 1498873"/>
              <a:gd name="connsiteX75" fmla="*/ 118043 w 1699080"/>
              <a:gd name="connsiteY75" fmla="*/ 363684 h 1498873"/>
              <a:gd name="connsiteX76" fmla="*/ 205730 w 1699080"/>
              <a:gd name="connsiteY76" fmla="*/ 286801 h 1498873"/>
              <a:gd name="connsiteX77" fmla="*/ 345608 w 1699080"/>
              <a:gd name="connsiteY77" fmla="*/ 159608 h 1498873"/>
              <a:gd name="connsiteX78" fmla="*/ 401233 w 1699080"/>
              <a:gd name="connsiteY78" fmla="*/ 105085 h 1498873"/>
              <a:gd name="connsiteX79" fmla="*/ 361401 w 1699080"/>
              <a:gd name="connsiteY79" fmla="*/ 66080 h 1498873"/>
              <a:gd name="connsiteX80" fmla="*/ 329715 w 1699080"/>
              <a:gd name="connsiteY80" fmla="*/ 7772 h 1498873"/>
              <a:gd name="connsiteX81" fmla="*/ 395568 w 1699080"/>
              <a:gd name="connsiteY81" fmla="*/ 34595 h 1498873"/>
              <a:gd name="connsiteX82" fmla="*/ 451018 w 1699080"/>
              <a:gd name="connsiteY82" fmla="*/ 98718 h 1498873"/>
              <a:gd name="connsiteX83" fmla="*/ 488444 w 1699080"/>
              <a:gd name="connsiteY83" fmla="*/ 140431 h 1498873"/>
              <a:gd name="connsiteX84" fmla="*/ 525845 w 1699080"/>
              <a:gd name="connsiteY84" fmla="*/ 173320 h 1498873"/>
              <a:gd name="connsiteX85" fmla="*/ 573925 w 1699080"/>
              <a:gd name="connsiteY85" fmla="*/ 180715 h 1498873"/>
              <a:gd name="connsiteX86" fmla="*/ 803595 w 1699080"/>
              <a:gd name="connsiteY86" fmla="*/ 291915 h 1498873"/>
              <a:gd name="connsiteX87" fmla="*/ 869649 w 1699080"/>
              <a:gd name="connsiteY87" fmla="*/ 346111 h 1498873"/>
              <a:gd name="connsiteX88" fmla="*/ 934399 w 1699080"/>
              <a:gd name="connsiteY88" fmla="*/ 296051 h 1498873"/>
              <a:gd name="connsiteX89" fmla="*/ 1141157 w 1699080"/>
              <a:gd name="connsiteY89" fmla="*/ 180263 h 1498873"/>
              <a:gd name="connsiteX90" fmla="*/ 1214204 w 1699080"/>
              <a:gd name="connsiteY90" fmla="*/ 139202 h 1498873"/>
              <a:gd name="connsiteX91" fmla="*/ 1253811 w 1699080"/>
              <a:gd name="connsiteY91" fmla="*/ 101927 h 1498873"/>
              <a:gd name="connsiteX92" fmla="*/ 1304774 w 1699080"/>
              <a:gd name="connsiteY92" fmla="*/ 40009 h 1498873"/>
              <a:gd name="connsiteX93" fmla="*/ 1365062 w 1699080"/>
              <a:gd name="connsiteY93" fmla="*/ 678 h 1498873"/>
              <a:gd name="connsiteX94" fmla="*/ 1387322 w 1699080"/>
              <a:gd name="connsiteY94" fmla="*/ 23640 h 1498873"/>
              <a:gd name="connsiteX95" fmla="*/ 1346662 w 1699080"/>
              <a:gd name="connsiteY95" fmla="*/ 65478 h 1498873"/>
              <a:gd name="connsiteX96" fmla="*/ 1304975 w 1699080"/>
              <a:gd name="connsiteY96" fmla="*/ 102052 h 1498873"/>
              <a:gd name="connsiteX97" fmla="*/ 1378774 w 1699080"/>
              <a:gd name="connsiteY97" fmla="*/ 178208 h 1498873"/>
              <a:gd name="connsiteX98" fmla="*/ 1453651 w 1699080"/>
              <a:gd name="connsiteY98" fmla="*/ 260455 h 1498873"/>
              <a:gd name="connsiteX99" fmla="*/ 1410936 w 1699080"/>
              <a:gd name="connsiteY99" fmla="*/ 273641 h 1498873"/>
              <a:gd name="connsiteX100" fmla="*/ 1347389 w 1699080"/>
              <a:gd name="connsiteY100" fmla="*/ 212877 h 1498873"/>
              <a:gd name="connsiteX101" fmla="*/ 1286099 w 1699080"/>
              <a:gd name="connsiteY101" fmla="*/ 153316 h 1498873"/>
              <a:gd name="connsiteX102" fmla="*/ 1278679 w 1699080"/>
              <a:gd name="connsiteY102" fmla="*/ 146447 h 1498873"/>
              <a:gd name="connsiteX103" fmla="*/ 1238144 w 1699080"/>
              <a:gd name="connsiteY103" fmla="*/ 178910 h 1498873"/>
              <a:gd name="connsiteX104" fmla="*/ 1178759 w 1699080"/>
              <a:gd name="connsiteY104" fmla="*/ 215935 h 1498873"/>
              <a:gd name="connsiteX105" fmla="*/ 1041814 w 1699080"/>
              <a:gd name="connsiteY105" fmla="*/ 271961 h 1498873"/>
              <a:gd name="connsiteX106" fmla="*/ 925048 w 1699080"/>
              <a:gd name="connsiteY106" fmla="*/ 362456 h 1498873"/>
              <a:gd name="connsiteX107" fmla="*/ 905997 w 1699080"/>
              <a:gd name="connsiteY107" fmla="*/ 377922 h 1498873"/>
              <a:gd name="connsiteX108" fmla="*/ 914244 w 1699080"/>
              <a:gd name="connsiteY108" fmla="*/ 392035 h 1498873"/>
              <a:gd name="connsiteX109" fmla="*/ 921363 w 1699080"/>
              <a:gd name="connsiteY109" fmla="*/ 448964 h 1498873"/>
              <a:gd name="connsiteX110" fmla="*/ 882809 w 1699080"/>
              <a:gd name="connsiteY110" fmla="*/ 492457 h 1498873"/>
              <a:gd name="connsiteX111" fmla="*/ 872707 w 1699080"/>
              <a:gd name="connsiteY111" fmla="*/ 498423 h 1498873"/>
              <a:gd name="connsiteX112" fmla="*/ 907551 w 1699080"/>
              <a:gd name="connsiteY112" fmla="*/ 529156 h 1498873"/>
              <a:gd name="connsiteX113" fmla="*/ 942370 w 1699080"/>
              <a:gd name="connsiteY113" fmla="*/ 557608 h 1498873"/>
              <a:gd name="connsiteX114" fmla="*/ 962524 w 1699080"/>
              <a:gd name="connsiteY114" fmla="*/ 541163 h 1498873"/>
              <a:gd name="connsiteX115" fmla="*/ 1008198 w 1699080"/>
              <a:gd name="connsiteY115" fmla="*/ 530685 h 1498873"/>
              <a:gd name="connsiteX116" fmla="*/ 996616 w 1699080"/>
              <a:gd name="connsiteY116" fmla="*/ 572122 h 1498873"/>
              <a:gd name="connsiteX117" fmla="*/ 977741 w 1699080"/>
              <a:gd name="connsiteY117" fmla="*/ 588917 h 1498873"/>
              <a:gd name="connsiteX118" fmla="*/ 994110 w 1699080"/>
              <a:gd name="connsiteY118" fmla="*/ 604534 h 1498873"/>
              <a:gd name="connsiteX119" fmla="*/ 1014164 w 1699080"/>
              <a:gd name="connsiteY119" fmla="*/ 625867 h 1498873"/>
              <a:gd name="connsiteX120" fmla="*/ 1038430 w 1699080"/>
              <a:gd name="connsiteY120" fmla="*/ 614737 h 1498873"/>
              <a:gd name="connsiteX121" fmla="*/ 1083100 w 1699080"/>
              <a:gd name="connsiteY121" fmla="*/ 604008 h 1498873"/>
              <a:gd name="connsiteX122" fmla="*/ 1091849 w 1699080"/>
              <a:gd name="connsiteY122" fmla="*/ 619851 h 1498873"/>
              <a:gd name="connsiteX123" fmla="*/ 1057932 w 1699080"/>
              <a:gd name="connsiteY123" fmla="*/ 657553 h 1498873"/>
              <a:gd name="connsiteX124" fmla="*/ 1024016 w 1699080"/>
              <a:gd name="connsiteY124" fmla="*/ 685428 h 1498873"/>
              <a:gd name="connsiteX125" fmla="*/ 1029631 w 1699080"/>
              <a:gd name="connsiteY125" fmla="*/ 695806 h 1498873"/>
              <a:gd name="connsiteX126" fmla="*/ 1043844 w 1699080"/>
              <a:gd name="connsiteY126" fmla="*/ 703301 h 1498873"/>
              <a:gd name="connsiteX127" fmla="*/ 1096010 w 1699080"/>
              <a:gd name="connsiteY127" fmla="*/ 703076 h 1498873"/>
              <a:gd name="connsiteX128" fmla="*/ 1110249 w 1699080"/>
              <a:gd name="connsiteY128" fmla="*/ 695405 h 1498873"/>
              <a:gd name="connsiteX129" fmla="*/ 1156398 w 1699080"/>
              <a:gd name="connsiteY129" fmla="*/ 653216 h 1498873"/>
              <a:gd name="connsiteX130" fmla="*/ 1206884 w 1699080"/>
              <a:gd name="connsiteY130" fmla="*/ 621355 h 1498873"/>
              <a:gd name="connsiteX131" fmla="*/ 1224407 w 1699080"/>
              <a:gd name="connsiteY131" fmla="*/ 629076 h 1498873"/>
              <a:gd name="connsiteX132" fmla="*/ 1205656 w 1699080"/>
              <a:gd name="connsiteY132" fmla="*/ 672393 h 1498873"/>
              <a:gd name="connsiteX133" fmla="*/ 1149179 w 1699080"/>
              <a:gd name="connsiteY133" fmla="*/ 730475 h 1498873"/>
              <a:gd name="connsiteX134" fmla="*/ 1159156 w 1699080"/>
              <a:gd name="connsiteY134" fmla="*/ 754515 h 1498873"/>
              <a:gd name="connsiteX135" fmla="*/ 1200217 w 1699080"/>
              <a:gd name="connsiteY135" fmla="*/ 761082 h 1498873"/>
              <a:gd name="connsiteX136" fmla="*/ 1385743 w 1699080"/>
              <a:gd name="connsiteY136" fmla="*/ 608244 h 1498873"/>
              <a:gd name="connsiteX137" fmla="*/ 1445404 w 1699080"/>
              <a:gd name="connsiteY137" fmla="*/ 458515 h 1498873"/>
              <a:gd name="connsiteX138" fmla="*/ 1522913 w 1699080"/>
              <a:gd name="connsiteY138" fmla="*/ 391309 h 1498873"/>
              <a:gd name="connsiteX139" fmla="*/ 1503737 w 1699080"/>
              <a:gd name="connsiteY139" fmla="*/ 364787 h 1498873"/>
              <a:gd name="connsiteX140" fmla="*/ 1478117 w 1699080"/>
              <a:gd name="connsiteY140" fmla="*/ 334906 h 1498873"/>
              <a:gd name="connsiteX141" fmla="*/ 1507547 w 1699080"/>
              <a:gd name="connsiteY141" fmla="*/ 309036 h 1498873"/>
              <a:gd name="connsiteX142" fmla="*/ 1545098 w 1699080"/>
              <a:gd name="connsiteY142" fmla="*/ 340145 h 1498873"/>
              <a:gd name="connsiteX143" fmla="*/ 1578915 w 1699080"/>
              <a:gd name="connsiteY143" fmla="*/ 369525 h 1498873"/>
              <a:gd name="connsiteX144" fmla="*/ 1623209 w 1699080"/>
              <a:gd name="connsiteY144" fmla="*/ 337313 h 1498873"/>
              <a:gd name="connsiteX145" fmla="*/ 1674548 w 1699080"/>
              <a:gd name="connsiteY145" fmla="*/ 305100 h 1498873"/>
              <a:gd name="connsiteX146" fmla="*/ 1692547 w 1699080"/>
              <a:gd name="connsiteY146" fmla="*/ 312822 h 1498873"/>
              <a:gd name="connsiteX147" fmla="*/ 1655396 w 1699080"/>
              <a:gd name="connsiteY147" fmla="*/ 371004 h 1498873"/>
              <a:gd name="connsiteX148" fmla="*/ 1583477 w 1699080"/>
              <a:gd name="connsiteY148" fmla="*/ 413042 h 1498873"/>
              <a:gd name="connsiteX149" fmla="*/ 1529556 w 1699080"/>
              <a:gd name="connsiteY149" fmla="*/ 444628 h 1498873"/>
              <a:gd name="connsiteX150" fmla="*/ 1491855 w 1699080"/>
              <a:gd name="connsiteY150" fmla="*/ 474333 h 1498873"/>
              <a:gd name="connsiteX151" fmla="*/ 1479170 w 1699080"/>
              <a:gd name="connsiteY151" fmla="*/ 520959 h 1498873"/>
              <a:gd name="connsiteX152" fmla="*/ 1422918 w 1699080"/>
              <a:gd name="connsiteY152" fmla="*/ 637899 h 1498873"/>
              <a:gd name="connsiteX153" fmla="*/ 1224257 w 1699080"/>
              <a:gd name="connsiteY153" fmla="*/ 799085 h 1498873"/>
              <a:gd name="connsiteX154" fmla="*/ 1166049 w 1699080"/>
              <a:gd name="connsiteY154" fmla="*/ 806630 h 1498873"/>
              <a:gd name="connsiteX155" fmla="*/ 1151611 w 1699080"/>
              <a:gd name="connsiteY155" fmla="*/ 803722 h 1498873"/>
              <a:gd name="connsiteX156" fmla="*/ 1151611 w 1699080"/>
              <a:gd name="connsiteY156" fmla="*/ 900960 h 1498873"/>
              <a:gd name="connsiteX157" fmla="*/ 1138199 w 1699080"/>
              <a:gd name="connsiteY157" fmla="*/ 1019656 h 1498873"/>
              <a:gd name="connsiteX158" fmla="*/ 1110098 w 1699080"/>
              <a:gd name="connsiteY158" fmla="*/ 1017901 h 1498873"/>
              <a:gd name="connsiteX159" fmla="*/ 1101801 w 1699080"/>
              <a:gd name="connsiteY159" fmla="*/ 886296 h 1498873"/>
              <a:gd name="connsiteX160" fmla="*/ 1100146 w 1699080"/>
              <a:gd name="connsiteY160" fmla="*/ 759102 h 1498873"/>
              <a:gd name="connsiteX161" fmla="*/ 1091849 w 1699080"/>
              <a:gd name="connsiteY161" fmla="*/ 751958 h 1498873"/>
              <a:gd name="connsiteX162" fmla="*/ 1047003 w 1699080"/>
              <a:gd name="connsiteY162" fmla="*/ 751958 h 1498873"/>
              <a:gd name="connsiteX163" fmla="*/ 1038981 w 1699080"/>
              <a:gd name="connsiteY163" fmla="*/ 759578 h 1498873"/>
              <a:gd name="connsiteX164" fmla="*/ 1038029 w 1699080"/>
              <a:gd name="connsiteY164" fmla="*/ 851777 h 1498873"/>
              <a:gd name="connsiteX165" fmla="*/ 1037051 w 1699080"/>
              <a:gd name="connsiteY165" fmla="*/ 943976 h 1498873"/>
              <a:gd name="connsiteX166" fmla="*/ 1029230 w 1699080"/>
              <a:gd name="connsiteY166" fmla="*/ 949566 h 1498873"/>
              <a:gd name="connsiteX167" fmla="*/ 997068 w 1699080"/>
              <a:gd name="connsiteY167" fmla="*/ 947987 h 1498873"/>
              <a:gd name="connsiteX168" fmla="*/ 988921 w 1699080"/>
              <a:gd name="connsiteY168" fmla="*/ 940792 h 1498873"/>
              <a:gd name="connsiteX169" fmla="*/ 988921 w 1699080"/>
              <a:gd name="connsiteY169" fmla="*/ 829166 h 1498873"/>
              <a:gd name="connsiteX170" fmla="*/ 988921 w 1699080"/>
              <a:gd name="connsiteY170" fmla="*/ 717540 h 1498873"/>
              <a:gd name="connsiteX171" fmla="*/ 979219 w 1699080"/>
              <a:gd name="connsiteY171" fmla="*/ 708967 h 1498873"/>
              <a:gd name="connsiteX172" fmla="*/ 935527 w 1699080"/>
              <a:gd name="connsiteY172" fmla="*/ 708967 h 1498873"/>
              <a:gd name="connsiteX173" fmla="*/ 925825 w 1699080"/>
              <a:gd name="connsiteY173" fmla="*/ 717540 h 1498873"/>
              <a:gd name="connsiteX174" fmla="*/ 925825 w 1699080"/>
              <a:gd name="connsiteY174" fmla="*/ 829166 h 1498873"/>
              <a:gd name="connsiteX175" fmla="*/ 925825 w 1699080"/>
              <a:gd name="connsiteY175" fmla="*/ 940792 h 1498873"/>
              <a:gd name="connsiteX176" fmla="*/ 917679 w 1699080"/>
              <a:gd name="connsiteY176" fmla="*/ 947987 h 1498873"/>
              <a:gd name="connsiteX177" fmla="*/ 884188 w 1699080"/>
              <a:gd name="connsiteY177" fmla="*/ 947987 h 1498873"/>
              <a:gd name="connsiteX178" fmla="*/ 876016 w 1699080"/>
              <a:gd name="connsiteY178" fmla="*/ 940792 h 1498873"/>
              <a:gd name="connsiteX179" fmla="*/ 876016 w 1699080"/>
              <a:gd name="connsiteY179" fmla="*/ 798408 h 1498873"/>
              <a:gd name="connsiteX180" fmla="*/ 876016 w 1699080"/>
              <a:gd name="connsiteY180" fmla="*/ 656048 h 1498873"/>
              <a:gd name="connsiteX181" fmla="*/ 866315 w 1699080"/>
              <a:gd name="connsiteY181" fmla="*/ 647475 h 1498873"/>
              <a:gd name="connsiteX182" fmla="*/ 831120 w 1699080"/>
              <a:gd name="connsiteY182" fmla="*/ 642412 h 1498873"/>
              <a:gd name="connsiteX183" fmla="*/ 812945 w 1699080"/>
              <a:gd name="connsiteY183" fmla="*/ 801416 h 1498873"/>
              <a:gd name="connsiteX184" fmla="*/ 812945 w 1699080"/>
              <a:gd name="connsiteY184" fmla="*/ 940792 h 1498873"/>
              <a:gd name="connsiteX185" fmla="*/ 804798 w 1699080"/>
              <a:gd name="connsiteY185" fmla="*/ 947987 h 1498873"/>
              <a:gd name="connsiteX186" fmla="*/ 791663 w 1699080"/>
              <a:gd name="connsiteY186" fmla="*/ 955157 h 1498873"/>
              <a:gd name="connsiteX187" fmla="*/ 766821 w 1699080"/>
              <a:gd name="connsiteY187" fmla="*/ 941520 h 1498873"/>
              <a:gd name="connsiteX188" fmla="*/ 763136 w 1699080"/>
              <a:gd name="connsiteY188" fmla="*/ 817184 h 1498873"/>
              <a:gd name="connsiteX189" fmla="*/ 763136 w 1699080"/>
              <a:gd name="connsiteY189" fmla="*/ 699967 h 1498873"/>
              <a:gd name="connsiteX190" fmla="*/ 753435 w 1699080"/>
              <a:gd name="connsiteY190" fmla="*/ 691394 h 1498873"/>
              <a:gd name="connsiteX191" fmla="*/ 705204 w 1699080"/>
              <a:gd name="connsiteY191" fmla="*/ 699065 h 1498873"/>
              <a:gd name="connsiteX192" fmla="*/ 700066 w 1699080"/>
              <a:gd name="connsiteY192" fmla="*/ 862306 h 1498873"/>
              <a:gd name="connsiteX193" fmla="*/ 693924 w 1699080"/>
              <a:gd name="connsiteY193" fmla="*/ 1022689 h 1498873"/>
              <a:gd name="connsiteX194" fmla="*/ 659205 w 1699080"/>
              <a:gd name="connsiteY194" fmla="*/ 1022940 h 1498873"/>
              <a:gd name="connsiteX195" fmla="*/ 650256 w 1699080"/>
              <a:gd name="connsiteY195" fmla="*/ 967239 h 1498873"/>
              <a:gd name="connsiteX196" fmla="*/ 627570 w 1699080"/>
              <a:gd name="connsiteY196" fmla="*/ 903316 h 1498873"/>
              <a:gd name="connsiteX197" fmla="*/ 587236 w 1699080"/>
              <a:gd name="connsiteY197" fmla="*/ 913319 h 1498873"/>
              <a:gd name="connsiteX198" fmla="*/ 580543 w 1699080"/>
              <a:gd name="connsiteY198" fmla="*/ 1028305 h 1498873"/>
              <a:gd name="connsiteX199" fmla="*/ 642435 w 1699080"/>
              <a:gd name="connsiteY199" fmla="*/ 1252109 h 1498873"/>
              <a:gd name="connsiteX200" fmla="*/ 673494 w 1699080"/>
              <a:gd name="connsiteY200" fmla="*/ 1292844 h 1498873"/>
              <a:gd name="connsiteX201" fmla="*/ 673494 w 1699080"/>
              <a:gd name="connsiteY201" fmla="*/ 1340698 h 1498873"/>
              <a:gd name="connsiteX202" fmla="*/ 673494 w 1699080"/>
              <a:gd name="connsiteY202" fmla="*/ 1388527 h 1498873"/>
              <a:gd name="connsiteX203" fmla="*/ 859421 w 1699080"/>
              <a:gd name="connsiteY203" fmla="*/ 1388527 h 1498873"/>
              <a:gd name="connsiteX204" fmla="*/ 1045348 w 1699080"/>
              <a:gd name="connsiteY204" fmla="*/ 1388527 h 1498873"/>
              <a:gd name="connsiteX205" fmla="*/ 1045348 w 1699080"/>
              <a:gd name="connsiteY205" fmla="*/ 1338843 h 1498873"/>
              <a:gd name="connsiteX206" fmla="*/ 1045348 w 1699080"/>
              <a:gd name="connsiteY206" fmla="*/ 1289134 h 1498873"/>
              <a:gd name="connsiteX207" fmla="*/ 1058283 w 1699080"/>
              <a:gd name="connsiteY207" fmla="*/ 1266372 h 1498873"/>
              <a:gd name="connsiteX208" fmla="*/ 1100372 w 1699080"/>
              <a:gd name="connsiteY208" fmla="*/ 1119751 h 1498873"/>
              <a:gd name="connsiteX209" fmla="*/ 1111026 w 1699080"/>
              <a:gd name="connsiteY209" fmla="*/ 1078038 h 1498873"/>
              <a:gd name="connsiteX210" fmla="*/ 1140581 w 1699080"/>
              <a:gd name="connsiteY210" fmla="*/ 1079317 h 1498873"/>
              <a:gd name="connsiteX211" fmla="*/ 1149830 w 1699080"/>
              <a:gd name="connsiteY211" fmla="*/ 1086336 h 1498873"/>
              <a:gd name="connsiteX212" fmla="*/ 1148878 w 1699080"/>
              <a:gd name="connsiteY212" fmla="*/ 1120829 h 1498873"/>
              <a:gd name="connsiteX213" fmla="*/ 1108419 w 1699080"/>
              <a:gd name="connsiteY213" fmla="*/ 1276224 h 1498873"/>
              <a:gd name="connsiteX214" fmla="*/ 1093453 w 1699080"/>
              <a:gd name="connsiteY214" fmla="*/ 1348895 h 1498873"/>
              <a:gd name="connsiteX215" fmla="*/ 1091022 w 1699080"/>
              <a:gd name="connsiteY215" fmla="*/ 1397702 h 1498873"/>
              <a:gd name="connsiteX216" fmla="*/ 1099520 w 1699080"/>
              <a:gd name="connsiteY216" fmla="*/ 1405573 h 1498873"/>
              <a:gd name="connsiteX217" fmla="*/ 1115087 w 1699080"/>
              <a:gd name="connsiteY217" fmla="*/ 1457664 h 1498873"/>
              <a:gd name="connsiteX218" fmla="*/ 1106940 w 1699080"/>
              <a:gd name="connsiteY218" fmla="*/ 1492608 h 1498873"/>
              <a:gd name="connsiteX219" fmla="*/ 1080543 w 1699080"/>
              <a:gd name="connsiteY219" fmla="*/ 1496469 h 1498873"/>
              <a:gd name="connsiteX220" fmla="*/ 1065452 w 1699080"/>
              <a:gd name="connsiteY220" fmla="*/ 1458817 h 1498873"/>
              <a:gd name="connsiteX221" fmla="*/ 1063623 w 1699080"/>
              <a:gd name="connsiteY221" fmla="*/ 1433925 h 1498873"/>
              <a:gd name="connsiteX222" fmla="*/ 859421 w 1699080"/>
              <a:gd name="connsiteY222" fmla="*/ 1433925 h 1498873"/>
              <a:gd name="connsiteX223" fmla="*/ 655244 w 1699080"/>
              <a:gd name="connsiteY223" fmla="*/ 1433925 h 1498873"/>
              <a:gd name="connsiteX224" fmla="*/ 653465 w 1699080"/>
              <a:gd name="connsiteY224" fmla="*/ 1459870 h 1498873"/>
              <a:gd name="connsiteX225" fmla="*/ 642485 w 1699080"/>
              <a:gd name="connsiteY225" fmla="*/ 1492809 h 1498873"/>
              <a:gd name="connsiteX226" fmla="*/ 620375 w 1699080"/>
              <a:gd name="connsiteY226" fmla="*/ 1497722 h 149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</a:cxnLst>
            <a:rect l="l" t="t" r="r" b="b"/>
            <a:pathLst>
              <a:path w="1699080" h="1498873">
                <a:moveTo>
                  <a:pt x="620375" y="1497722"/>
                </a:moveTo>
                <a:cubicBezTo>
                  <a:pt x="605686" y="1492959"/>
                  <a:pt x="603781" y="1488247"/>
                  <a:pt x="603781" y="1456561"/>
                </a:cubicBezTo>
                <a:cubicBezTo>
                  <a:pt x="603781" y="1430490"/>
                  <a:pt x="604858" y="1424249"/>
                  <a:pt x="611025" y="1414548"/>
                </a:cubicBezTo>
                <a:cubicBezTo>
                  <a:pt x="615011" y="1408306"/>
                  <a:pt x="619498" y="1403167"/>
                  <a:pt x="620977" y="1403167"/>
                </a:cubicBezTo>
                <a:cubicBezTo>
                  <a:pt x="622481" y="1403167"/>
                  <a:pt x="623684" y="1381157"/>
                  <a:pt x="623684" y="1354260"/>
                </a:cubicBezTo>
                <a:lnTo>
                  <a:pt x="623684" y="1305352"/>
                </a:lnTo>
                <a:lnTo>
                  <a:pt x="597313" y="1271311"/>
                </a:lnTo>
                <a:cubicBezTo>
                  <a:pt x="566204" y="1231152"/>
                  <a:pt x="550486" y="1204505"/>
                  <a:pt x="540234" y="1174624"/>
                </a:cubicBezTo>
                <a:cubicBezTo>
                  <a:pt x="533140" y="1153893"/>
                  <a:pt x="532713" y="1147075"/>
                  <a:pt x="531535" y="1035874"/>
                </a:cubicBezTo>
                <a:cubicBezTo>
                  <a:pt x="530457" y="933272"/>
                  <a:pt x="530984" y="917379"/>
                  <a:pt x="535697" y="906450"/>
                </a:cubicBezTo>
                <a:cubicBezTo>
                  <a:pt x="542465" y="890858"/>
                  <a:pt x="551489" y="880655"/>
                  <a:pt x="567683" y="870302"/>
                </a:cubicBezTo>
                <a:lnTo>
                  <a:pt x="580367" y="862206"/>
                </a:lnTo>
                <a:lnTo>
                  <a:pt x="512359" y="804450"/>
                </a:lnTo>
                <a:cubicBezTo>
                  <a:pt x="472777" y="770808"/>
                  <a:pt x="443498" y="743660"/>
                  <a:pt x="442294" y="739449"/>
                </a:cubicBezTo>
                <a:cubicBezTo>
                  <a:pt x="437782" y="723581"/>
                  <a:pt x="456006" y="708139"/>
                  <a:pt x="472576" y="713804"/>
                </a:cubicBezTo>
                <a:cubicBezTo>
                  <a:pt x="476938" y="715284"/>
                  <a:pt x="517222" y="747822"/>
                  <a:pt x="562043" y="786075"/>
                </a:cubicBezTo>
                <a:cubicBezTo>
                  <a:pt x="606889" y="824303"/>
                  <a:pt x="645067" y="855613"/>
                  <a:pt x="646897" y="855613"/>
                </a:cubicBezTo>
                <a:cubicBezTo>
                  <a:pt x="648977" y="855613"/>
                  <a:pt x="650256" y="841976"/>
                  <a:pt x="650256" y="819966"/>
                </a:cubicBezTo>
                <a:lnTo>
                  <a:pt x="650256" y="784345"/>
                </a:lnTo>
                <a:lnTo>
                  <a:pt x="594932" y="737193"/>
                </a:lnTo>
                <a:cubicBezTo>
                  <a:pt x="545899" y="695430"/>
                  <a:pt x="539582" y="688962"/>
                  <a:pt x="539582" y="680615"/>
                </a:cubicBezTo>
                <a:cubicBezTo>
                  <a:pt x="539582" y="667805"/>
                  <a:pt x="548882" y="659408"/>
                  <a:pt x="563070" y="659408"/>
                </a:cubicBezTo>
                <a:cubicBezTo>
                  <a:pt x="573048" y="659408"/>
                  <a:pt x="579164" y="663444"/>
                  <a:pt x="613181" y="692372"/>
                </a:cubicBezTo>
                <a:lnTo>
                  <a:pt x="651911" y="725311"/>
                </a:lnTo>
                <a:lnTo>
                  <a:pt x="653816" y="705959"/>
                </a:lnTo>
                <a:cubicBezTo>
                  <a:pt x="655019" y="693600"/>
                  <a:pt x="658403" y="682545"/>
                  <a:pt x="663141" y="675451"/>
                </a:cubicBezTo>
                <a:lnTo>
                  <a:pt x="670611" y="664321"/>
                </a:lnTo>
                <a:lnTo>
                  <a:pt x="643839" y="640582"/>
                </a:lnTo>
                <a:cubicBezTo>
                  <a:pt x="613933" y="614085"/>
                  <a:pt x="610799" y="606114"/>
                  <a:pt x="625213" y="593404"/>
                </a:cubicBezTo>
                <a:cubicBezTo>
                  <a:pt x="639828" y="580520"/>
                  <a:pt x="648100" y="583653"/>
                  <a:pt x="685727" y="616291"/>
                </a:cubicBezTo>
                <a:lnTo>
                  <a:pt x="712900" y="639855"/>
                </a:lnTo>
                <a:lnTo>
                  <a:pt x="732202" y="640306"/>
                </a:lnTo>
                <a:cubicBezTo>
                  <a:pt x="742831" y="640557"/>
                  <a:pt x="755265" y="641685"/>
                  <a:pt x="759827" y="642788"/>
                </a:cubicBezTo>
                <a:cubicBezTo>
                  <a:pt x="767197" y="644618"/>
                  <a:pt x="768851" y="643464"/>
                  <a:pt x="774492" y="632560"/>
                </a:cubicBezTo>
                <a:lnTo>
                  <a:pt x="780884" y="620252"/>
                </a:lnTo>
                <a:lnTo>
                  <a:pt x="740826" y="586060"/>
                </a:lnTo>
                <a:cubicBezTo>
                  <a:pt x="718816" y="567259"/>
                  <a:pt x="699088" y="549085"/>
                  <a:pt x="697007" y="545675"/>
                </a:cubicBezTo>
                <a:cubicBezTo>
                  <a:pt x="688886" y="532264"/>
                  <a:pt x="701971" y="515945"/>
                  <a:pt x="720872" y="515945"/>
                </a:cubicBezTo>
                <a:cubicBezTo>
                  <a:pt x="728442" y="515945"/>
                  <a:pt x="739171" y="523641"/>
                  <a:pt x="776497" y="555853"/>
                </a:cubicBezTo>
                <a:lnTo>
                  <a:pt x="822772" y="595761"/>
                </a:lnTo>
                <a:lnTo>
                  <a:pt x="845233" y="596262"/>
                </a:lnTo>
                <a:cubicBezTo>
                  <a:pt x="870200" y="596838"/>
                  <a:pt x="888124" y="603356"/>
                  <a:pt x="903214" y="617419"/>
                </a:cubicBezTo>
                <a:cubicBezTo>
                  <a:pt x="912840" y="626393"/>
                  <a:pt x="925650" y="648929"/>
                  <a:pt x="925750" y="657152"/>
                </a:cubicBezTo>
                <a:cubicBezTo>
                  <a:pt x="925800" y="661363"/>
                  <a:pt x="927254" y="661739"/>
                  <a:pt x="934348" y="659357"/>
                </a:cubicBezTo>
                <a:cubicBezTo>
                  <a:pt x="939036" y="657778"/>
                  <a:pt x="949640" y="656500"/>
                  <a:pt x="957937" y="656500"/>
                </a:cubicBezTo>
                <a:cubicBezTo>
                  <a:pt x="970321" y="656500"/>
                  <a:pt x="972652" y="655672"/>
                  <a:pt x="970998" y="651862"/>
                </a:cubicBezTo>
                <a:cubicBezTo>
                  <a:pt x="969894" y="649305"/>
                  <a:pt x="968992" y="646147"/>
                  <a:pt x="968992" y="644843"/>
                </a:cubicBezTo>
                <a:cubicBezTo>
                  <a:pt x="968992" y="643540"/>
                  <a:pt x="911487" y="593480"/>
                  <a:pt x="841172" y="533643"/>
                </a:cubicBezTo>
                <a:cubicBezTo>
                  <a:pt x="761882" y="466110"/>
                  <a:pt x="712574" y="422016"/>
                  <a:pt x="711271" y="417404"/>
                </a:cubicBezTo>
                <a:cubicBezTo>
                  <a:pt x="708062" y="406224"/>
                  <a:pt x="719267" y="394642"/>
                  <a:pt x="734408" y="393514"/>
                </a:cubicBezTo>
                <a:cubicBezTo>
                  <a:pt x="745764" y="392662"/>
                  <a:pt x="748822" y="394567"/>
                  <a:pt x="784494" y="424724"/>
                </a:cubicBezTo>
                <a:cubicBezTo>
                  <a:pt x="825755" y="459593"/>
                  <a:pt x="834353" y="463503"/>
                  <a:pt x="853881" y="456309"/>
                </a:cubicBezTo>
                <a:cubicBezTo>
                  <a:pt x="873058" y="449240"/>
                  <a:pt x="880929" y="430239"/>
                  <a:pt x="871353" y="414045"/>
                </a:cubicBezTo>
                <a:cubicBezTo>
                  <a:pt x="866590" y="405973"/>
                  <a:pt x="735210" y="292868"/>
                  <a:pt x="705029" y="270833"/>
                </a:cubicBezTo>
                <a:cubicBezTo>
                  <a:pt x="688284" y="258625"/>
                  <a:pt x="651760" y="241228"/>
                  <a:pt x="630327" y="235262"/>
                </a:cubicBezTo>
                <a:cubicBezTo>
                  <a:pt x="623935" y="233482"/>
                  <a:pt x="596310" y="228669"/>
                  <a:pt x="568911" y="224583"/>
                </a:cubicBezTo>
                <a:cubicBezTo>
                  <a:pt x="541512" y="220497"/>
                  <a:pt x="515392" y="216411"/>
                  <a:pt x="510879" y="215509"/>
                </a:cubicBezTo>
                <a:cubicBezTo>
                  <a:pt x="506342" y="214606"/>
                  <a:pt x="485661" y="199164"/>
                  <a:pt x="464930" y="181166"/>
                </a:cubicBezTo>
                <a:lnTo>
                  <a:pt x="427229" y="148452"/>
                </a:lnTo>
                <a:lnTo>
                  <a:pt x="371904" y="198462"/>
                </a:lnTo>
                <a:cubicBezTo>
                  <a:pt x="341472" y="225962"/>
                  <a:pt x="283365" y="278830"/>
                  <a:pt x="242755" y="315930"/>
                </a:cubicBezTo>
                <a:lnTo>
                  <a:pt x="168931" y="383362"/>
                </a:lnTo>
                <a:lnTo>
                  <a:pt x="208864" y="416702"/>
                </a:lnTo>
                <a:cubicBezTo>
                  <a:pt x="247969" y="449365"/>
                  <a:pt x="248997" y="450543"/>
                  <a:pt x="258097" y="473481"/>
                </a:cubicBezTo>
                <a:cubicBezTo>
                  <a:pt x="281084" y="531537"/>
                  <a:pt x="304798" y="563173"/>
                  <a:pt x="367217" y="619124"/>
                </a:cubicBezTo>
                <a:cubicBezTo>
                  <a:pt x="413416" y="660511"/>
                  <a:pt x="415296" y="662641"/>
                  <a:pt x="413216" y="671791"/>
                </a:cubicBezTo>
                <a:cubicBezTo>
                  <a:pt x="410508" y="683723"/>
                  <a:pt x="405620" y="688085"/>
                  <a:pt x="392284" y="690442"/>
                </a:cubicBezTo>
                <a:cubicBezTo>
                  <a:pt x="382483" y="692146"/>
                  <a:pt x="379449" y="690366"/>
                  <a:pt x="349168" y="665048"/>
                </a:cubicBezTo>
                <a:cubicBezTo>
                  <a:pt x="274667" y="602780"/>
                  <a:pt x="239647" y="558260"/>
                  <a:pt x="212148" y="490802"/>
                </a:cubicBezTo>
                <a:cubicBezTo>
                  <a:pt x="205630" y="474859"/>
                  <a:pt x="200742" y="469595"/>
                  <a:pt x="165522" y="440291"/>
                </a:cubicBezTo>
                <a:cubicBezTo>
                  <a:pt x="134763" y="414747"/>
                  <a:pt x="124135" y="407578"/>
                  <a:pt x="116790" y="407527"/>
                </a:cubicBezTo>
                <a:cubicBezTo>
                  <a:pt x="99092" y="407377"/>
                  <a:pt x="82623" y="397300"/>
                  <a:pt x="41085" y="361177"/>
                </a:cubicBezTo>
                <a:cubicBezTo>
                  <a:pt x="-3360" y="322497"/>
                  <a:pt x="-6092" y="318011"/>
                  <a:pt x="6392" y="304048"/>
                </a:cubicBezTo>
                <a:cubicBezTo>
                  <a:pt x="11480" y="298332"/>
                  <a:pt x="16293" y="296327"/>
                  <a:pt x="24917" y="296327"/>
                </a:cubicBezTo>
                <a:cubicBezTo>
                  <a:pt x="35320" y="296327"/>
                  <a:pt x="40810" y="299987"/>
                  <a:pt x="75579" y="329993"/>
                </a:cubicBezTo>
                <a:cubicBezTo>
                  <a:pt x="97037" y="348518"/>
                  <a:pt x="116138" y="363684"/>
                  <a:pt x="118043" y="363684"/>
                </a:cubicBezTo>
                <a:cubicBezTo>
                  <a:pt x="119948" y="363684"/>
                  <a:pt x="159405" y="329090"/>
                  <a:pt x="205730" y="286801"/>
                </a:cubicBezTo>
                <a:cubicBezTo>
                  <a:pt x="252055" y="244537"/>
                  <a:pt x="315000" y="187282"/>
                  <a:pt x="345608" y="159608"/>
                </a:cubicBezTo>
                <a:cubicBezTo>
                  <a:pt x="376216" y="131908"/>
                  <a:pt x="401233" y="107367"/>
                  <a:pt x="401233" y="105085"/>
                </a:cubicBezTo>
                <a:cubicBezTo>
                  <a:pt x="401233" y="102779"/>
                  <a:pt x="383310" y="85232"/>
                  <a:pt x="361401" y="66080"/>
                </a:cubicBezTo>
                <a:cubicBezTo>
                  <a:pt x="317582" y="27777"/>
                  <a:pt x="314173" y="21460"/>
                  <a:pt x="329715" y="7772"/>
                </a:cubicBezTo>
                <a:cubicBezTo>
                  <a:pt x="344505" y="-5288"/>
                  <a:pt x="351374" y="-2505"/>
                  <a:pt x="395568" y="34595"/>
                </a:cubicBezTo>
                <a:cubicBezTo>
                  <a:pt x="439186" y="71194"/>
                  <a:pt x="450993" y="84856"/>
                  <a:pt x="451018" y="98718"/>
                </a:cubicBezTo>
                <a:cubicBezTo>
                  <a:pt x="451043" y="106063"/>
                  <a:pt x="457335" y="113082"/>
                  <a:pt x="488444" y="140431"/>
                </a:cubicBezTo>
                <a:lnTo>
                  <a:pt x="525845" y="173320"/>
                </a:lnTo>
                <a:lnTo>
                  <a:pt x="573925" y="180715"/>
                </a:lnTo>
                <a:cubicBezTo>
                  <a:pt x="682493" y="197385"/>
                  <a:pt x="704176" y="207888"/>
                  <a:pt x="803595" y="291915"/>
                </a:cubicBezTo>
                <a:cubicBezTo>
                  <a:pt x="838840" y="321721"/>
                  <a:pt x="868571" y="346111"/>
                  <a:pt x="869649" y="346111"/>
                </a:cubicBezTo>
                <a:cubicBezTo>
                  <a:pt x="870701" y="346111"/>
                  <a:pt x="899855" y="323576"/>
                  <a:pt x="934399" y="296051"/>
                </a:cubicBezTo>
                <a:cubicBezTo>
                  <a:pt x="1023589" y="224959"/>
                  <a:pt x="1063222" y="202774"/>
                  <a:pt x="1141157" y="180263"/>
                </a:cubicBezTo>
                <a:cubicBezTo>
                  <a:pt x="1175299" y="170387"/>
                  <a:pt x="1175826" y="170111"/>
                  <a:pt x="1214204" y="139202"/>
                </a:cubicBezTo>
                <a:cubicBezTo>
                  <a:pt x="1236214" y="121505"/>
                  <a:pt x="1253285" y="105436"/>
                  <a:pt x="1253811" y="101927"/>
                </a:cubicBezTo>
                <a:cubicBezTo>
                  <a:pt x="1256945" y="81496"/>
                  <a:pt x="1264992" y="71720"/>
                  <a:pt x="1304774" y="40009"/>
                </a:cubicBezTo>
                <a:cubicBezTo>
                  <a:pt x="1347239" y="6193"/>
                  <a:pt x="1355411" y="854"/>
                  <a:pt x="1365062" y="678"/>
                </a:cubicBezTo>
                <a:cubicBezTo>
                  <a:pt x="1374462" y="503"/>
                  <a:pt x="1387322" y="13789"/>
                  <a:pt x="1387322" y="23640"/>
                </a:cubicBezTo>
                <a:cubicBezTo>
                  <a:pt x="1387322" y="31010"/>
                  <a:pt x="1381105" y="37403"/>
                  <a:pt x="1346662" y="65478"/>
                </a:cubicBezTo>
                <a:cubicBezTo>
                  <a:pt x="1324302" y="83703"/>
                  <a:pt x="1305526" y="100147"/>
                  <a:pt x="1304975" y="102052"/>
                </a:cubicBezTo>
                <a:cubicBezTo>
                  <a:pt x="1304423" y="103932"/>
                  <a:pt x="1337613" y="138200"/>
                  <a:pt x="1378774" y="178208"/>
                </a:cubicBezTo>
                <a:cubicBezTo>
                  <a:pt x="1443749" y="241378"/>
                  <a:pt x="1453576" y="252183"/>
                  <a:pt x="1453651" y="260455"/>
                </a:cubicBezTo>
                <a:cubicBezTo>
                  <a:pt x="1453827" y="280910"/>
                  <a:pt x="1428960" y="288581"/>
                  <a:pt x="1410936" y="273641"/>
                </a:cubicBezTo>
                <a:cubicBezTo>
                  <a:pt x="1405596" y="269204"/>
                  <a:pt x="1376994" y="241855"/>
                  <a:pt x="1347389" y="212877"/>
                </a:cubicBezTo>
                <a:cubicBezTo>
                  <a:pt x="1317784" y="183873"/>
                  <a:pt x="1290210" y="157076"/>
                  <a:pt x="1286099" y="153316"/>
                </a:cubicBezTo>
                <a:lnTo>
                  <a:pt x="1278679" y="146447"/>
                </a:lnTo>
                <a:lnTo>
                  <a:pt x="1238144" y="178910"/>
                </a:lnTo>
                <a:cubicBezTo>
                  <a:pt x="1202899" y="207136"/>
                  <a:pt x="1195153" y="211974"/>
                  <a:pt x="1178759" y="215935"/>
                </a:cubicBezTo>
                <a:cubicBezTo>
                  <a:pt x="1127821" y="228268"/>
                  <a:pt x="1076884" y="249099"/>
                  <a:pt x="1041814" y="271961"/>
                </a:cubicBezTo>
                <a:cubicBezTo>
                  <a:pt x="1025520" y="282565"/>
                  <a:pt x="979069" y="318587"/>
                  <a:pt x="925048" y="362456"/>
                </a:cubicBezTo>
                <a:lnTo>
                  <a:pt x="905997" y="377922"/>
                </a:lnTo>
                <a:lnTo>
                  <a:pt x="914244" y="392035"/>
                </a:lnTo>
                <a:cubicBezTo>
                  <a:pt x="925550" y="411363"/>
                  <a:pt x="927806" y="429386"/>
                  <a:pt x="921363" y="448964"/>
                </a:cubicBezTo>
                <a:cubicBezTo>
                  <a:pt x="915372" y="467088"/>
                  <a:pt x="897725" y="487017"/>
                  <a:pt x="882809" y="492457"/>
                </a:cubicBezTo>
                <a:cubicBezTo>
                  <a:pt x="877244" y="494487"/>
                  <a:pt x="872707" y="497169"/>
                  <a:pt x="872707" y="498423"/>
                </a:cubicBezTo>
                <a:cubicBezTo>
                  <a:pt x="872707" y="499676"/>
                  <a:pt x="888374" y="513514"/>
                  <a:pt x="907551" y="529156"/>
                </a:cubicBezTo>
                <a:lnTo>
                  <a:pt x="942370" y="557608"/>
                </a:lnTo>
                <a:lnTo>
                  <a:pt x="962524" y="541163"/>
                </a:lnTo>
                <a:cubicBezTo>
                  <a:pt x="984810" y="522964"/>
                  <a:pt x="995764" y="520457"/>
                  <a:pt x="1008198" y="530685"/>
                </a:cubicBezTo>
                <a:cubicBezTo>
                  <a:pt x="1021283" y="541439"/>
                  <a:pt x="1018050" y="553020"/>
                  <a:pt x="996616" y="572122"/>
                </a:cubicBezTo>
                <a:lnTo>
                  <a:pt x="977741" y="588917"/>
                </a:lnTo>
                <a:lnTo>
                  <a:pt x="994110" y="604534"/>
                </a:lnTo>
                <a:cubicBezTo>
                  <a:pt x="1003134" y="613133"/>
                  <a:pt x="1012133" y="622709"/>
                  <a:pt x="1014164" y="625867"/>
                </a:cubicBezTo>
                <a:cubicBezTo>
                  <a:pt x="1017573" y="631182"/>
                  <a:pt x="1019228" y="630404"/>
                  <a:pt x="1038430" y="614737"/>
                </a:cubicBezTo>
                <a:cubicBezTo>
                  <a:pt x="1060991" y="596312"/>
                  <a:pt x="1069163" y="594357"/>
                  <a:pt x="1083100" y="604008"/>
                </a:cubicBezTo>
                <a:cubicBezTo>
                  <a:pt x="1089417" y="608395"/>
                  <a:pt x="1091849" y="612757"/>
                  <a:pt x="1091849" y="619851"/>
                </a:cubicBezTo>
                <a:cubicBezTo>
                  <a:pt x="1091849" y="628499"/>
                  <a:pt x="1087863" y="632911"/>
                  <a:pt x="1057932" y="657553"/>
                </a:cubicBezTo>
                <a:lnTo>
                  <a:pt x="1024016" y="685428"/>
                </a:lnTo>
                <a:lnTo>
                  <a:pt x="1029631" y="695806"/>
                </a:lnTo>
                <a:cubicBezTo>
                  <a:pt x="1034745" y="705282"/>
                  <a:pt x="1035998" y="705933"/>
                  <a:pt x="1043844" y="703301"/>
                </a:cubicBezTo>
                <a:cubicBezTo>
                  <a:pt x="1054623" y="699692"/>
                  <a:pt x="1085507" y="699541"/>
                  <a:pt x="1096010" y="703076"/>
                </a:cubicBezTo>
                <a:cubicBezTo>
                  <a:pt x="1102979" y="705407"/>
                  <a:pt x="1104709" y="704479"/>
                  <a:pt x="1110249" y="695405"/>
                </a:cubicBezTo>
                <a:cubicBezTo>
                  <a:pt x="1113708" y="689740"/>
                  <a:pt x="1134464" y="670738"/>
                  <a:pt x="1156398" y="653216"/>
                </a:cubicBezTo>
                <a:cubicBezTo>
                  <a:pt x="1189663" y="626619"/>
                  <a:pt x="1197986" y="621355"/>
                  <a:pt x="1206884" y="621355"/>
                </a:cubicBezTo>
                <a:cubicBezTo>
                  <a:pt x="1214430" y="621355"/>
                  <a:pt x="1219519" y="623611"/>
                  <a:pt x="1224407" y="629076"/>
                </a:cubicBezTo>
                <a:cubicBezTo>
                  <a:pt x="1236715" y="642863"/>
                  <a:pt x="1233782" y="649656"/>
                  <a:pt x="1205656" y="672393"/>
                </a:cubicBezTo>
                <a:cubicBezTo>
                  <a:pt x="1147374" y="719470"/>
                  <a:pt x="1151084" y="715660"/>
                  <a:pt x="1149179" y="730475"/>
                </a:cubicBezTo>
                <a:cubicBezTo>
                  <a:pt x="1147574" y="743184"/>
                  <a:pt x="1148301" y="744939"/>
                  <a:pt x="1159156" y="754515"/>
                </a:cubicBezTo>
                <a:cubicBezTo>
                  <a:pt x="1171790" y="765645"/>
                  <a:pt x="1186379" y="767976"/>
                  <a:pt x="1200217" y="761082"/>
                </a:cubicBezTo>
                <a:cubicBezTo>
                  <a:pt x="1217990" y="752183"/>
                  <a:pt x="1371780" y="625491"/>
                  <a:pt x="1385743" y="608244"/>
                </a:cubicBezTo>
                <a:cubicBezTo>
                  <a:pt x="1411262" y="576709"/>
                  <a:pt x="1421891" y="550037"/>
                  <a:pt x="1445404" y="458515"/>
                </a:cubicBezTo>
                <a:cubicBezTo>
                  <a:pt x="1446657" y="453602"/>
                  <a:pt x="1478644" y="425877"/>
                  <a:pt x="1522913" y="391309"/>
                </a:cubicBezTo>
                <a:cubicBezTo>
                  <a:pt x="1526498" y="388526"/>
                  <a:pt x="1522863" y="383488"/>
                  <a:pt x="1503737" y="364787"/>
                </a:cubicBezTo>
                <a:cubicBezTo>
                  <a:pt x="1490727" y="352102"/>
                  <a:pt x="1479220" y="338641"/>
                  <a:pt x="1478117" y="334906"/>
                </a:cubicBezTo>
                <a:cubicBezTo>
                  <a:pt x="1473806" y="320141"/>
                  <a:pt x="1490701" y="305301"/>
                  <a:pt x="1507547" y="309036"/>
                </a:cubicBezTo>
                <a:cubicBezTo>
                  <a:pt x="1511858" y="309989"/>
                  <a:pt x="1528754" y="323977"/>
                  <a:pt x="1545098" y="340145"/>
                </a:cubicBezTo>
                <a:cubicBezTo>
                  <a:pt x="1561443" y="356314"/>
                  <a:pt x="1576658" y="369525"/>
                  <a:pt x="1578915" y="369525"/>
                </a:cubicBezTo>
                <a:cubicBezTo>
                  <a:pt x="1581146" y="369525"/>
                  <a:pt x="1601100" y="355035"/>
                  <a:pt x="1623209" y="337313"/>
                </a:cubicBezTo>
                <a:cubicBezTo>
                  <a:pt x="1657577" y="309813"/>
                  <a:pt x="1665047" y="305100"/>
                  <a:pt x="1674548" y="305100"/>
                </a:cubicBezTo>
                <a:cubicBezTo>
                  <a:pt x="1682595" y="305100"/>
                  <a:pt x="1687558" y="307231"/>
                  <a:pt x="1692547" y="312822"/>
                </a:cubicBezTo>
                <a:cubicBezTo>
                  <a:pt x="1705657" y="327536"/>
                  <a:pt x="1701521" y="334029"/>
                  <a:pt x="1655396" y="371004"/>
                </a:cubicBezTo>
                <a:cubicBezTo>
                  <a:pt x="1610826" y="406700"/>
                  <a:pt x="1604058" y="410686"/>
                  <a:pt x="1583477" y="413042"/>
                </a:cubicBezTo>
                <a:cubicBezTo>
                  <a:pt x="1568787" y="414747"/>
                  <a:pt x="1563774" y="417680"/>
                  <a:pt x="1529556" y="444628"/>
                </a:cubicBezTo>
                <a:lnTo>
                  <a:pt x="1491855" y="474333"/>
                </a:lnTo>
                <a:lnTo>
                  <a:pt x="1479170" y="520959"/>
                </a:lnTo>
                <a:cubicBezTo>
                  <a:pt x="1465057" y="572874"/>
                  <a:pt x="1448237" y="607843"/>
                  <a:pt x="1422918" y="637899"/>
                </a:cubicBezTo>
                <a:cubicBezTo>
                  <a:pt x="1405521" y="658555"/>
                  <a:pt x="1244286" y="789384"/>
                  <a:pt x="1224257" y="799085"/>
                </a:cubicBezTo>
                <a:cubicBezTo>
                  <a:pt x="1207186" y="807357"/>
                  <a:pt x="1184349" y="810315"/>
                  <a:pt x="1166049" y="806630"/>
                </a:cubicBezTo>
                <a:lnTo>
                  <a:pt x="1151611" y="803722"/>
                </a:lnTo>
                <a:lnTo>
                  <a:pt x="1151611" y="900960"/>
                </a:lnTo>
                <a:cubicBezTo>
                  <a:pt x="1151611" y="1001181"/>
                  <a:pt x="1150156" y="1013990"/>
                  <a:pt x="1138199" y="1019656"/>
                </a:cubicBezTo>
                <a:cubicBezTo>
                  <a:pt x="1129501" y="1023742"/>
                  <a:pt x="1117794" y="1023040"/>
                  <a:pt x="1110098" y="1017901"/>
                </a:cubicBezTo>
                <a:cubicBezTo>
                  <a:pt x="1103681" y="1013639"/>
                  <a:pt x="1103405" y="1009153"/>
                  <a:pt x="1101801" y="886296"/>
                </a:cubicBezTo>
                <a:lnTo>
                  <a:pt x="1100146" y="759102"/>
                </a:lnTo>
                <a:lnTo>
                  <a:pt x="1091849" y="751958"/>
                </a:lnTo>
                <a:cubicBezTo>
                  <a:pt x="1078738" y="740652"/>
                  <a:pt x="1058860" y="740652"/>
                  <a:pt x="1047003" y="751958"/>
                </a:cubicBezTo>
                <a:lnTo>
                  <a:pt x="1038981" y="759578"/>
                </a:lnTo>
                <a:lnTo>
                  <a:pt x="1038029" y="851777"/>
                </a:lnTo>
                <a:lnTo>
                  <a:pt x="1037051" y="943976"/>
                </a:lnTo>
                <a:lnTo>
                  <a:pt x="1029230" y="949566"/>
                </a:lnTo>
                <a:cubicBezTo>
                  <a:pt x="1018551" y="957187"/>
                  <a:pt x="1006844" y="956610"/>
                  <a:pt x="997068" y="947987"/>
                </a:cubicBezTo>
                <a:lnTo>
                  <a:pt x="988921" y="940792"/>
                </a:lnTo>
                <a:lnTo>
                  <a:pt x="988921" y="829166"/>
                </a:lnTo>
                <a:lnTo>
                  <a:pt x="988921" y="717540"/>
                </a:lnTo>
                <a:lnTo>
                  <a:pt x="979219" y="708967"/>
                </a:lnTo>
                <a:cubicBezTo>
                  <a:pt x="965809" y="697160"/>
                  <a:pt x="948938" y="697160"/>
                  <a:pt x="935527" y="708967"/>
                </a:cubicBezTo>
                <a:lnTo>
                  <a:pt x="925825" y="717540"/>
                </a:lnTo>
                <a:lnTo>
                  <a:pt x="925825" y="829166"/>
                </a:lnTo>
                <a:lnTo>
                  <a:pt x="925825" y="940792"/>
                </a:lnTo>
                <a:lnTo>
                  <a:pt x="917679" y="947987"/>
                </a:lnTo>
                <a:cubicBezTo>
                  <a:pt x="907300" y="957137"/>
                  <a:pt x="894566" y="957137"/>
                  <a:pt x="884188" y="947987"/>
                </a:cubicBezTo>
                <a:lnTo>
                  <a:pt x="876016" y="940792"/>
                </a:lnTo>
                <a:lnTo>
                  <a:pt x="876016" y="798408"/>
                </a:lnTo>
                <a:lnTo>
                  <a:pt x="876016" y="656048"/>
                </a:lnTo>
                <a:lnTo>
                  <a:pt x="866315" y="647475"/>
                </a:lnTo>
                <a:cubicBezTo>
                  <a:pt x="855861" y="638251"/>
                  <a:pt x="845258" y="636747"/>
                  <a:pt x="831120" y="642412"/>
                </a:cubicBezTo>
                <a:cubicBezTo>
                  <a:pt x="812996" y="649707"/>
                  <a:pt x="812945" y="650258"/>
                  <a:pt x="812945" y="801416"/>
                </a:cubicBezTo>
                <a:lnTo>
                  <a:pt x="812945" y="940792"/>
                </a:lnTo>
                <a:lnTo>
                  <a:pt x="804798" y="947987"/>
                </a:lnTo>
                <a:cubicBezTo>
                  <a:pt x="800311" y="951923"/>
                  <a:pt x="794396" y="955157"/>
                  <a:pt x="791663" y="955157"/>
                </a:cubicBezTo>
                <a:cubicBezTo>
                  <a:pt x="782338" y="955157"/>
                  <a:pt x="770531" y="948689"/>
                  <a:pt x="766821" y="941520"/>
                </a:cubicBezTo>
                <a:cubicBezTo>
                  <a:pt x="764314" y="936682"/>
                  <a:pt x="763136" y="896849"/>
                  <a:pt x="763136" y="817184"/>
                </a:cubicBezTo>
                <a:lnTo>
                  <a:pt x="763136" y="699967"/>
                </a:lnTo>
                <a:lnTo>
                  <a:pt x="753435" y="691394"/>
                </a:lnTo>
                <a:cubicBezTo>
                  <a:pt x="737868" y="677682"/>
                  <a:pt x="714730" y="681342"/>
                  <a:pt x="705204" y="699065"/>
                </a:cubicBezTo>
                <a:cubicBezTo>
                  <a:pt x="700768" y="707312"/>
                  <a:pt x="700066" y="729647"/>
                  <a:pt x="700066" y="862306"/>
                </a:cubicBezTo>
                <a:cubicBezTo>
                  <a:pt x="700066" y="1007323"/>
                  <a:pt x="699715" y="1016397"/>
                  <a:pt x="693924" y="1022689"/>
                </a:cubicBezTo>
                <a:cubicBezTo>
                  <a:pt x="685852" y="1031488"/>
                  <a:pt x="669057" y="1031588"/>
                  <a:pt x="659205" y="1022940"/>
                </a:cubicBezTo>
                <a:cubicBezTo>
                  <a:pt x="652437" y="1016973"/>
                  <a:pt x="651810" y="1013038"/>
                  <a:pt x="650256" y="967239"/>
                </a:cubicBezTo>
                <a:cubicBezTo>
                  <a:pt x="648426" y="913243"/>
                  <a:pt x="647524" y="910686"/>
                  <a:pt x="627570" y="903316"/>
                </a:cubicBezTo>
                <a:cubicBezTo>
                  <a:pt x="613682" y="898203"/>
                  <a:pt x="597037" y="902339"/>
                  <a:pt x="587236" y="913319"/>
                </a:cubicBezTo>
                <a:cubicBezTo>
                  <a:pt x="580793" y="920538"/>
                  <a:pt x="580543" y="924975"/>
                  <a:pt x="580543" y="1028305"/>
                </a:cubicBezTo>
                <a:cubicBezTo>
                  <a:pt x="580543" y="1170589"/>
                  <a:pt x="580718" y="1171215"/>
                  <a:pt x="642435" y="1252109"/>
                </a:cubicBezTo>
                <a:lnTo>
                  <a:pt x="673494" y="1292844"/>
                </a:lnTo>
                <a:lnTo>
                  <a:pt x="673494" y="1340698"/>
                </a:lnTo>
                <a:lnTo>
                  <a:pt x="673494" y="1388527"/>
                </a:lnTo>
                <a:lnTo>
                  <a:pt x="859421" y="1388527"/>
                </a:lnTo>
                <a:lnTo>
                  <a:pt x="1045348" y="1388527"/>
                </a:lnTo>
                <a:lnTo>
                  <a:pt x="1045348" y="1338843"/>
                </a:lnTo>
                <a:lnTo>
                  <a:pt x="1045348" y="1289134"/>
                </a:lnTo>
                <a:lnTo>
                  <a:pt x="1058283" y="1266372"/>
                </a:lnTo>
                <a:cubicBezTo>
                  <a:pt x="1085582" y="1218217"/>
                  <a:pt x="1096361" y="1180741"/>
                  <a:pt x="1100372" y="1119751"/>
                </a:cubicBezTo>
                <a:cubicBezTo>
                  <a:pt x="1102603" y="1086111"/>
                  <a:pt x="1103305" y="1083403"/>
                  <a:pt x="1111026" y="1078038"/>
                </a:cubicBezTo>
                <a:cubicBezTo>
                  <a:pt x="1121930" y="1070468"/>
                  <a:pt x="1129325" y="1070794"/>
                  <a:pt x="1140581" y="1079317"/>
                </a:cubicBezTo>
                <a:lnTo>
                  <a:pt x="1149830" y="1086336"/>
                </a:lnTo>
                <a:lnTo>
                  <a:pt x="1148878" y="1120829"/>
                </a:lnTo>
                <a:cubicBezTo>
                  <a:pt x="1147299" y="1177983"/>
                  <a:pt x="1134865" y="1225713"/>
                  <a:pt x="1108419" y="1276224"/>
                </a:cubicBezTo>
                <a:cubicBezTo>
                  <a:pt x="1096035" y="1299838"/>
                  <a:pt x="1095860" y="1300640"/>
                  <a:pt x="1093453" y="1348895"/>
                </a:cubicBezTo>
                <a:lnTo>
                  <a:pt x="1091022" y="1397702"/>
                </a:lnTo>
                <a:lnTo>
                  <a:pt x="1099520" y="1405573"/>
                </a:lnTo>
                <a:cubicBezTo>
                  <a:pt x="1112179" y="1417255"/>
                  <a:pt x="1115087" y="1427007"/>
                  <a:pt x="1115087" y="1457664"/>
                </a:cubicBezTo>
                <a:cubicBezTo>
                  <a:pt x="1115087" y="1483233"/>
                  <a:pt x="1114435" y="1485991"/>
                  <a:pt x="1106940" y="1492608"/>
                </a:cubicBezTo>
                <a:cubicBezTo>
                  <a:pt x="1097865" y="1500630"/>
                  <a:pt x="1092726" y="1501382"/>
                  <a:pt x="1080543" y="1496469"/>
                </a:cubicBezTo>
                <a:cubicBezTo>
                  <a:pt x="1069313" y="1491956"/>
                  <a:pt x="1067583" y="1487645"/>
                  <a:pt x="1065452" y="1458817"/>
                </a:cubicBezTo>
                <a:lnTo>
                  <a:pt x="1063623" y="1433925"/>
                </a:lnTo>
                <a:lnTo>
                  <a:pt x="859421" y="1433925"/>
                </a:lnTo>
                <a:lnTo>
                  <a:pt x="655244" y="1433925"/>
                </a:lnTo>
                <a:lnTo>
                  <a:pt x="653465" y="1459870"/>
                </a:lnTo>
                <a:cubicBezTo>
                  <a:pt x="651860" y="1483684"/>
                  <a:pt x="650958" y="1486417"/>
                  <a:pt x="642485" y="1492809"/>
                </a:cubicBezTo>
                <a:cubicBezTo>
                  <a:pt x="633210" y="1499853"/>
                  <a:pt x="629500" y="1500680"/>
                  <a:pt x="620375" y="1497722"/>
                </a:cubicBezTo>
                <a:close/>
              </a:path>
            </a:pathLst>
          </a:custGeom>
          <a:solidFill>
            <a:srgbClr val="509AAF"/>
          </a:solidFill>
          <a:ln w="310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FBA3137F-6876-4B7E-ABFC-4823DD6F3C41}"/>
              </a:ext>
            </a:extLst>
          </p:cNvPr>
          <p:cNvSpPr txBox="1">
            <a:spLocks/>
          </p:cNvSpPr>
          <p:nvPr/>
        </p:nvSpPr>
        <p:spPr>
          <a:xfrm>
            <a:off x="420624" y="658368"/>
            <a:ext cx="6469200" cy="460800"/>
          </a:xfrm>
          <a:prstGeom prst="rect">
            <a:avLst/>
          </a:prstGeom>
        </p:spPr>
        <p:txBody>
          <a:bodyPr lIns="91440" tIns="91440" rIns="91440" bIns="9144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0" smtClean="0">
                <a:solidFill>
                  <a:srgbClr val="05405E"/>
                </a:solidFill>
                <a:latin typeface="Poppins Black" panose="00000A00000000000000" pitchFamily="2" charset="0"/>
                <a:ea typeface="+mj-ea"/>
                <a:cs typeface="Poppins Black" panose="00000A00000000000000" pitchFamily="2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509AAF"/>
                </a:solidFill>
                <a:effectLst/>
                <a:uLnTx/>
                <a:uFillTx/>
                <a:latin typeface="IBM Plex Sans SemiBold" panose="020B0703050203000203" pitchFamily="34" charset="0"/>
              </a:rPr>
              <a:t>Why Your Employees Are Quitting</a:t>
            </a:r>
          </a:p>
        </p:txBody>
      </p:sp>
    </p:spTree>
    <p:extLst>
      <p:ext uri="{BB962C8B-B14F-4D97-AF65-F5344CB8AC3E}">
        <p14:creationId xmlns:p14="http://schemas.microsoft.com/office/powerpoint/2010/main" val="49879552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FE09626B-AB9B-419B-A4F2-79ED0ED791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1"/>
            <a:ext cx="9906000" cy="6813835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E4EE0F70-ADBC-49CE-9827-DC88EFA09864}"/>
              </a:ext>
            </a:extLst>
          </p:cNvPr>
          <p:cNvSpPr/>
          <p:nvPr/>
        </p:nvSpPr>
        <p:spPr bwMode="auto">
          <a:xfrm>
            <a:off x="0" y="0"/>
            <a:ext cx="9906000" cy="6895969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bg1">
                  <a:alpha val="50000"/>
                </a:scheme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1993C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1A120F-83F5-4E8A-83FC-FD3658419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509AAF"/>
                </a:solidFill>
                <a:effectLst/>
                <a:uLnTx/>
                <a:uFillTx/>
                <a:latin typeface="IBM Plex Sans SemiBold" panose="020B0703050203000203" pitchFamily="34" charset="0"/>
              </a:rPr>
              <a:t>Why Your Employees Are Quit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FA8F66-D3AE-4A05-BE79-BC39C70008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anchor="t" anchorCtr="0"/>
          <a:lstStyle/>
          <a:p>
            <a:endParaRPr lang="en-US"/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926A2EBF-D626-4EAB-93D4-83990AB022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058912"/>
              </p:ext>
            </p:extLst>
          </p:nvPr>
        </p:nvGraphicFramePr>
        <p:xfrm>
          <a:off x="-27189" y="1035845"/>
          <a:ext cx="4774599" cy="5091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5" name="Oval 44">
            <a:extLst>
              <a:ext uri="{FF2B5EF4-FFF2-40B4-BE49-F238E27FC236}">
                <a16:creationId xmlns:a16="http://schemas.microsoft.com/office/drawing/2014/main" id="{0BC71BCE-7D27-4E02-A2A9-54B231080680}"/>
              </a:ext>
            </a:extLst>
          </p:cNvPr>
          <p:cNvSpPr/>
          <p:nvPr/>
        </p:nvSpPr>
        <p:spPr bwMode="auto">
          <a:xfrm>
            <a:off x="5300331" y="2011896"/>
            <a:ext cx="822960" cy="822960"/>
          </a:xfrm>
          <a:prstGeom prst="ellipse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993C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D41498B3-DBB9-4A04-A813-723598DD3AEA}"/>
              </a:ext>
            </a:extLst>
          </p:cNvPr>
          <p:cNvSpPr/>
          <p:nvPr/>
        </p:nvSpPr>
        <p:spPr bwMode="auto">
          <a:xfrm>
            <a:off x="5302461" y="3172279"/>
            <a:ext cx="822960" cy="822960"/>
          </a:xfrm>
          <a:prstGeom prst="ellipse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993C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B1E9A14-41DA-4677-B435-26EA7182C5C1}"/>
              </a:ext>
            </a:extLst>
          </p:cNvPr>
          <p:cNvSpPr/>
          <p:nvPr/>
        </p:nvSpPr>
        <p:spPr bwMode="auto">
          <a:xfrm>
            <a:off x="5300383" y="4318597"/>
            <a:ext cx="822960" cy="822960"/>
          </a:xfrm>
          <a:prstGeom prst="ellipse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993C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02F29FD-17E3-4E74-9A12-654B79DCE0C7}"/>
              </a:ext>
            </a:extLst>
          </p:cNvPr>
          <p:cNvSpPr/>
          <p:nvPr/>
        </p:nvSpPr>
        <p:spPr bwMode="auto">
          <a:xfrm>
            <a:off x="417743" y="1196905"/>
            <a:ext cx="3383280" cy="422618"/>
          </a:xfrm>
          <a:prstGeom prst="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vert="horz" wrap="none" lIns="182880" tIns="182880" rIns="182880" bIns="18288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Medium" panose="020B0603050203000203" pitchFamily="34" charset="0"/>
              <a:cs typeface="Poppins Medium" panose="00000600000000000000" pitchFamily="2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23AA93E-C8DA-4650-99D8-143741CFCE01}"/>
              </a:ext>
            </a:extLst>
          </p:cNvPr>
          <p:cNvSpPr/>
          <p:nvPr/>
        </p:nvSpPr>
        <p:spPr bwMode="auto">
          <a:xfrm>
            <a:off x="6107631" y="1196823"/>
            <a:ext cx="3383280" cy="422618"/>
          </a:xfrm>
          <a:prstGeom prst="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vert="horz" wrap="none" lIns="182880" tIns="182880" rIns="182880" bIns="18288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Medium" panose="020B0603050203000203" pitchFamily="34" charset="0"/>
              <a:cs typeface="Poppins Medium" panose="00000600000000000000" pitchFamily="2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34D4BF8-4392-495D-B357-C44A6B8F960B}"/>
              </a:ext>
            </a:extLst>
          </p:cNvPr>
          <p:cNvSpPr txBox="1"/>
          <p:nvPr/>
        </p:nvSpPr>
        <p:spPr>
          <a:xfrm>
            <a:off x="6632594" y="1217463"/>
            <a:ext cx="2303835" cy="575076"/>
          </a:xfrm>
          <a:prstGeom prst="rect">
            <a:avLst/>
          </a:prstGeom>
          <a:noFill/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Medium" panose="020B0603050203000203" pitchFamily="34" charset="0"/>
              </a:rPr>
              <a:t>High Attrition affect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9070380-499C-453F-8396-2AC44FB6F887}"/>
              </a:ext>
            </a:extLst>
          </p:cNvPr>
          <p:cNvSpPr txBox="1"/>
          <p:nvPr/>
        </p:nvSpPr>
        <p:spPr>
          <a:xfrm>
            <a:off x="760714" y="1220438"/>
            <a:ext cx="2651836" cy="553998"/>
          </a:xfrm>
          <a:prstGeom prst="rect">
            <a:avLst/>
          </a:prstGeom>
          <a:noFill/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Medium" panose="020B0603050203000203" pitchFamily="34" charset="0"/>
                <a:cs typeface="Poppins Medium" panose="00000600000000000000" pitchFamily="2" charset="0"/>
              </a:rPr>
              <a:t>Reasons for leav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3F62"/>
              </a:solidFill>
              <a:effectLst/>
              <a:uLnTx/>
              <a:uFillTx/>
              <a:latin typeface="IBM Plex Sans Medium" panose="020B0603050203000203" pitchFamily="34" charset="0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B221A465-3322-420A-92DB-5CB8C7149F66}"/>
              </a:ext>
            </a:extLst>
          </p:cNvPr>
          <p:cNvSpPr/>
          <p:nvPr/>
        </p:nvSpPr>
        <p:spPr>
          <a:xfrm>
            <a:off x="5483211" y="2194776"/>
            <a:ext cx="457200" cy="457200"/>
          </a:xfrm>
          <a:custGeom>
            <a:avLst/>
            <a:gdLst>
              <a:gd name="connsiteX0" fmla="*/ 94694 w 1967615"/>
              <a:gd name="connsiteY0" fmla="*/ 1671652 h 1675246"/>
              <a:gd name="connsiteX1" fmla="*/ 34507 w 1967615"/>
              <a:gd name="connsiteY1" fmla="*/ 1641095 h 1675246"/>
              <a:gd name="connsiteX2" fmla="*/ -61 w 1967615"/>
              <a:gd name="connsiteY2" fmla="*/ 1481145 h 1675246"/>
              <a:gd name="connsiteX3" fmla="*/ -61 w 1967615"/>
              <a:gd name="connsiteY3" fmla="*/ 1369724 h 1675246"/>
              <a:gd name="connsiteX4" fmla="*/ 10868 w 1967615"/>
              <a:gd name="connsiteY4" fmla="*/ 1351217 h 1675246"/>
              <a:gd name="connsiteX5" fmla="*/ 74289 w 1967615"/>
              <a:gd name="connsiteY5" fmla="*/ 1299131 h 1675246"/>
              <a:gd name="connsiteX6" fmla="*/ 195843 w 1967615"/>
              <a:gd name="connsiteY6" fmla="*/ 1290054 h 1675246"/>
              <a:gd name="connsiteX7" fmla="*/ 321482 w 1967615"/>
              <a:gd name="connsiteY7" fmla="*/ 1296195 h 1675246"/>
              <a:gd name="connsiteX8" fmla="*/ 369036 w 1967615"/>
              <a:gd name="connsiteY8" fmla="*/ 1321943 h 1675246"/>
              <a:gd name="connsiteX9" fmla="*/ 408918 w 1967615"/>
              <a:gd name="connsiteY9" fmla="*/ 1473680 h 1675246"/>
              <a:gd name="connsiteX10" fmla="*/ 387811 w 1967615"/>
              <a:gd name="connsiteY10" fmla="*/ 1626222 h 1675246"/>
              <a:gd name="connsiteX11" fmla="*/ 327674 w 1967615"/>
              <a:gd name="connsiteY11" fmla="*/ 1667591 h 1675246"/>
              <a:gd name="connsiteX12" fmla="*/ 210056 w 1967615"/>
              <a:gd name="connsiteY12" fmla="*/ 1675197 h 1675246"/>
              <a:gd name="connsiteX13" fmla="*/ 94694 w 1967615"/>
              <a:gd name="connsiteY13" fmla="*/ 1671652 h 1675246"/>
              <a:gd name="connsiteX14" fmla="*/ 311154 w 1967615"/>
              <a:gd name="connsiteY14" fmla="*/ 1618122 h 1675246"/>
              <a:gd name="connsiteX15" fmla="*/ 334994 w 1967615"/>
              <a:gd name="connsiteY15" fmla="*/ 1597785 h 1675246"/>
              <a:gd name="connsiteX16" fmla="*/ 343090 w 1967615"/>
              <a:gd name="connsiteY16" fmla="*/ 1478829 h 1675246"/>
              <a:gd name="connsiteX17" fmla="*/ 332011 w 1967615"/>
              <a:gd name="connsiteY17" fmla="*/ 1361971 h 1675246"/>
              <a:gd name="connsiteX18" fmla="*/ 203890 w 1967615"/>
              <a:gd name="connsiteY18" fmla="*/ 1338735 h 1675246"/>
              <a:gd name="connsiteX19" fmla="*/ 102942 w 1967615"/>
              <a:gd name="connsiteY19" fmla="*/ 1344757 h 1675246"/>
              <a:gd name="connsiteX20" fmla="*/ 59876 w 1967615"/>
              <a:gd name="connsiteY20" fmla="*/ 1481145 h 1675246"/>
              <a:gd name="connsiteX21" fmla="*/ 79503 w 1967615"/>
              <a:gd name="connsiteY21" fmla="*/ 1607622 h 1675246"/>
              <a:gd name="connsiteX22" fmla="*/ 210056 w 1967615"/>
              <a:gd name="connsiteY22" fmla="*/ 1626129 h 1675246"/>
              <a:gd name="connsiteX23" fmla="*/ 311154 w 1967615"/>
              <a:gd name="connsiteY23" fmla="*/ 1618122 h 1675246"/>
              <a:gd name="connsiteX24" fmla="*/ 613797 w 1967615"/>
              <a:gd name="connsiteY24" fmla="*/ 1671652 h 1675246"/>
              <a:gd name="connsiteX25" fmla="*/ 584743 w 1967615"/>
              <a:gd name="connsiteY25" fmla="*/ 1662184 h 1675246"/>
              <a:gd name="connsiteX26" fmla="*/ 527940 w 1967615"/>
              <a:gd name="connsiteY26" fmla="*/ 1611164 h 1675246"/>
              <a:gd name="connsiteX27" fmla="*/ 519041 w 1967615"/>
              <a:gd name="connsiteY27" fmla="*/ 1384471 h 1675246"/>
              <a:gd name="connsiteX28" fmla="*/ 527940 w 1967615"/>
              <a:gd name="connsiteY28" fmla="*/ 1157779 h 1675246"/>
              <a:gd name="connsiteX29" fmla="*/ 594670 w 1967615"/>
              <a:gd name="connsiteY29" fmla="*/ 1103532 h 1675246"/>
              <a:gd name="connsiteX30" fmla="*/ 617933 w 1967615"/>
              <a:gd name="connsiteY30" fmla="*/ 1094453 h 1675246"/>
              <a:gd name="connsiteX31" fmla="*/ 722967 w 1967615"/>
              <a:gd name="connsiteY31" fmla="*/ 1094453 h 1675246"/>
              <a:gd name="connsiteX32" fmla="*/ 828025 w 1967615"/>
              <a:gd name="connsiteY32" fmla="*/ 1094453 h 1675246"/>
              <a:gd name="connsiteX33" fmla="*/ 851514 w 1967615"/>
              <a:gd name="connsiteY33" fmla="*/ 1103628 h 1675246"/>
              <a:gd name="connsiteX34" fmla="*/ 919272 w 1967615"/>
              <a:gd name="connsiteY34" fmla="*/ 1160832 h 1675246"/>
              <a:gd name="connsiteX35" fmla="*/ 928020 w 1967615"/>
              <a:gd name="connsiteY35" fmla="*/ 1377753 h 1675246"/>
              <a:gd name="connsiteX36" fmla="*/ 920901 w 1967615"/>
              <a:gd name="connsiteY36" fmla="*/ 1601034 h 1675246"/>
              <a:gd name="connsiteX37" fmla="*/ 851539 w 1967615"/>
              <a:gd name="connsiteY37" fmla="*/ 1665312 h 1675246"/>
              <a:gd name="connsiteX38" fmla="*/ 828025 w 1967615"/>
              <a:gd name="connsiteY38" fmla="*/ 1674490 h 1675246"/>
              <a:gd name="connsiteX39" fmla="*/ 729158 w 1967615"/>
              <a:gd name="connsiteY39" fmla="*/ 1675197 h 1675246"/>
              <a:gd name="connsiteX40" fmla="*/ 613797 w 1967615"/>
              <a:gd name="connsiteY40" fmla="*/ 1671652 h 1675246"/>
              <a:gd name="connsiteX41" fmla="*/ 832864 w 1967615"/>
              <a:gd name="connsiteY41" fmla="*/ 1616616 h 1675246"/>
              <a:gd name="connsiteX42" fmla="*/ 866304 w 1967615"/>
              <a:gd name="connsiteY42" fmla="*/ 1394619 h 1675246"/>
              <a:gd name="connsiteX43" fmla="*/ 863020 w 1967615"/>
              <a:gd name="connsiteY43" fmla="*/ 1189379 h 1675246"/>
              <a:gd name="connsiteX44" fmla="*/ 807971 w 1967615"/>
              <a:gd name="connsiteY44" fmla="*/ 1145087 h 1675246"/>
              <a:gd name="connsiteX45" fmla="*/ 710608 w 1967615"/>
              <a:gd name="connsiteY45" fmla="*/ 1142485 h 1675246"/>
              <a:gd name="connsiteX46" fmla="*/ 591813 w 1967615"/>
              <a:gd name="connsiteY46" fmla="*/ 1169275 h 1675246"/>
              <a:gd name="connsiteX47" fmla="*/ 580833 w 1967615"/>
              <a:gd name="connsiteY47" fmla="*/ 1182448 h 1675246"/>
              <a:gd name="connsiteX48" fmla="*/ 579680 w 1967615"/>
              <a:gd name="connsiteY48" fmla="*/ 1376954 h 1675246"/>
              <a:gd name="connsiteX49" fmla="*/ 582938 w 1967615"/>
              <a:gd name="connsiteY49" fmla="*/ 1584494 h 1675246"/>
              <a:gd name="connsiteX50" fmla="*/ 629289 w 1967615"/>
              <a:gd name="connsiteY50" fmla="*/ 1623429 h 1675246"/>
              <a:gd name="connsiteX51" fmla="*/ 729459 w 1967615"/>
              <a:gd name="connsiteY51" fmla="*/ 1625974 h 1675246"/>
              <a:gd name="connsiteX52" fmla="*/ 832864 w 1967615"/>
              <a:gd name="connsiteY52" fmla="*/ 1616616 h 1675246"/>
              <a:gd name="connsiteX53" fmla="*/ 1132172 w 1967615"/>
              <a:gd name="connsiteY53" fmla="*/ 1671517 h 1675246"/>
              <a:gd name="connsiteX54" fmla="*/ 1046942 w 1967615"/>
              <a:gd name="connsiteY54" fmla="*/ 1610988 h 1675246"/>
              <a:gd name="connsiteX55" fmla="*/ 1038143 w 1967615"/>
              <a:gd name="connsiteY55" fmla="*/ 1595842 h 1675246"/>
              <a:gd name="connsiteX56" fmla="*/ 1038143 w 1967615"/>
              <a:gd name="connsiteY56" fmla="*/ 1264858 h 1675246"/>
              <a:gd name="connsiteX57" fmla="*/ 1038143 w 1967615"/>
              <a:gd name="connsiteY57" fmla="*/ 933877 h 1675246"/>
              <a:gd name="connsiteX58" fmla="*/ 1047042 w 1967615"/>
              <a:gd name="connsiteY58" fmla="*/ 918555 h 1675246"/>
              <a:gd name="connsiteX59" fmla="*/ 1113772 w 1967615"/>
              <a:gd name="connsiteY59" fmla="*/ 864306 h 1675246"/>
              <a:gd name="connsiteX60" fmla="*/ 1137010 w 1967615"/>
              <a:gd name="connsiteY60" fmla="*/ 855227 h 1675246"/>
              <a:gd name="connsiteX61" fmla="*/ 1242069 w 1967615"/>
              <a:gd name="connsiteY61" fmla="*/ 855227 h 1675246"/>
              <a:gd name="connsiteX62" fmla="*/ 1347128 w 1967615"/>
              <a:gd name="connsiteY62" fmla="*/ 855227 h 1675246"/>
              <a:gd name="connsiteX63" fmla="*/ 1370366 w 1967615"/>
              <a:gd name="connsiteY63" fmla="*/ 864306 h 1675246"/>
              <a:gd name="connsiteX64" fmla="*/ 1437096 w 1967615"/>
              <a:gd name="connsiteY64" fmla="*/ 918555 h 1675246"/>
              <a:gd name="connsiteX65" fmla="*/ 1446020 w 1967615"/>
              <a:gd name="connsiteY65" fmla="*/ 933877 h 1675246"/>
              <a:gd name="connsiteX66" fmla="*/ 1446020 w 1967615"/>
              <a:gd name="connsiteY66" fmla="*/ 1264858 h 1675246"/>
              <a:gd name="connsiteX67" fmla="*/ 1446020 w 1967615"/>
              <a:gd name="connsiteY67" fmla="*/ 1595842 h 1675246"/>
              <a:gd name="connsiteX68" fmla="*/ 1434589 w 1967615"/>
              <a:gd name="connsiteY68" fmla="*/ 1614330 h 1675246"/>
              <a:gd name="connsiteX69" fmla="*/ 1366405 w 1967615"/>
              <a:gd name="connsiteY69" fmla="*/ 1667408 h 1675246"/>
              <a:gd name="connsiteX70" fmla="*/ 1248261 w 1967615"/>
              <a:gd name="connsiteY70" fmla="*/ 1675197 h 1675246"/>
              <a:gd name="connsiteX71" fmla="*/ 1132172 w 1967615"/>
              <a:gd name="connsiteY71" fmla="*/ 1671517 h 1675246"/>
              <a:gd name="connsiteX72" fmla="*/ 1350011 w 1967615"/>
              <a:gd name="connsiteY72" fmla="*/ 1617797 h 1675246"/>
              <a:gd name="connsiteX73" fmla="*/ 1374727 w 1967615"/>
              <a:gd name="connsiteY73" fmla="*/ 1598133 h 1675246"/>
              <a:gd name="connsiteX74" fmla="*/ 1384203 w 1967615"/>
              <a:gd name="connsiteY74" fmla="*/ 1586011 h 1675246"/>
              <a:gd name="connsiteX75" fmla="*/ 1384203 w 1967615"/>
              <a:gd name="connsiteY75" fmla="*/ 1264858 h 1675246"/>
              <a:gd name="connsiteX76" fmla="*/ 1384203 w 1967615"/>
              <a:gd name="connsiteY76" fmla="*/ 943708 h 1675246"/>
              <a:gd name="connsiteX77" fmla="*/ 1374727 w 1967615"/>
              <a:gd name="connsiteY77" fmla="*/ 931585 h 1675246"/>
              <a:gd name="connsiteX78" fmla="*/ 1350011 w 1967615"/>
              <a:gd name="connsiteY78" fmla="*/ 911922 h 1675246"/>
              <a:gd name="connsiteX79" fmla="*/ 1241768 w 1967615"/>
              <a:gd name="connsiteY79" fmla="*/ 904385 h 1675246"/>
              <a:gd name="connsiteX80" fmla="*/ 1148767 w 1967615"/>
              <a:gd name="connsiteY80" fmla="*/ 904385 h 1675246"/>
              <a:gd name="connsiteX81" fmla="*/ 1132222 w 1967615"/>
              <a:gd name="connsiteY81" fmla="*/ 913103 h 1675246"/>
              <a:gd name="connsiteX82" fmla="*/ 1107806 w 1967615"/>
              <a:gd name="connsiteY82" fmla="*/ 934403 h 1675246"/>
              <a:gd name="connsiteX83" fmla="*/ 1098807 w 1967615"/>
              <a:gd name="connsiteY83" fmla="*/ 1254934 h 1675246"/>
              <a:gd name="connsiteX84" fmla="*/ 1102241 w 1967615"/>
              <a:gd name="connsiteY84" fmla="*/ 1580338 h 1675246"/>
              <a:gd name="connsiteX85" fmla="*/ 1148366 w 1967615"/>
              <a:gd name="connsiteY85" fmla="*/ 1623429 h 1675246"/>
              <a:gd name="connsiteX86" fmla="*/ 1248261 w 1967615"/>
              <a:gd name="connsiteY86" fmla="*/ 1625974 h 1675246"/>
              <a:gd name="connsiteX87" fmla="*/ 1350011 w 1967615"/>
              <a:gd name="connsiteY87" fmla="*/ 1617797 h 1675246"/>
              <a:gd name="connsiteX88" fmla="*/ 1651274 w 1967615"/>
              <a:gd name="connsiteY88" fmla="*/ 1671517 h 1675246"/>
              <a:gd name="connsiteX89" fmla="*/ 1564665 w 1967615"/>
              <a:gd name="connsiteY89" fmla="*/ 1606230 h 1675246"/>
              <a:gd name="connsiteX90" fmla="*/ 1557245 w 1967615"/>
              <a:gd name="connsiteY90" fmla="*/ 1053490 h 1675246"/>
              <a:gd name="connsiteX91" fmla="*/ 1557245 w 1967615"/>
              <a:gd name="connsiteY91" fmla="*/ 517692 h 1675246"/>
              <a:gd name="connsiteX92" fmla="*/ 1567949 w 1967615"/>
              <a:gd name="connsiteY92" fmla="*/ 499518 h 1675246"/>
              <a:gd name="connsiteX93" fmla="*/ 1632699 w 1967615"/>
              <a:gd name="connsiteY93" fmla="*/ 446483 h 1675246"/>
              <a:gd name="connsiteX94" fmla="*/ 1660073 w 1967615"/>
              <a:gd name="connsiteY94" fmla="*/ 435766 h 1675246"/>
              <a:gd name="connsiteX95" fmla="*/ 1761096 w 1967615"/>
              <a:gd name="connsiteY95" fmla="*/ 435766 h 1675246"/>
              <a:gd name="connsiteX96" fmla="*/ 1862119 w 1967615"/>
              <a:gd name="connsiteY96" fmla="*/ 435766 h 1675246"/>
              <a:gd name="connsiteX97" fmla="*/ 1887838 w 1967615"/>
              <a:gd name="connsiteY97" fmla="*/ 445222 h 1675246"/>
              <a:gd name="connsiteX98" fmla="*/ 1956198 w 1967615"/>
              <a:gd name="connsiteY98" fmla="*/ 499092 h 1675246"/>
              <a:gd name="connsiteX99" fmla="*/ 1965097 w 1967615"/>
              <a:gd name="connsiteY99" fmla="*/ 514414 h 1675246"/>
              <a:gd name="connsiteX100" fmla="*/ 1966225 w 1967615"/>
              <a:gd name="connsiteY100" fmla="*/ 896170 h 1675246"/>
              <a:gd name="connsiteX101" fmla="*/ 1962766 w 1967615"/>
              <a:gd name="connsiteY101" fmla="*/ 1286677 h 1675246"/>
              <a:gd name="connsiteX102" fmla="*/ 1910926 w 1967615"/>
              <a:gd name="connsiteY102" fmla="*/ 1292097 h 1675246"/>
              <a:gd name="connsiteX103" fmla="*/ 1905361 w 1967615"/>
              <a:gd name="connsiteY103" fmla="*/ 905781 h 1675246"/>
              <a:gd name="connsiteX104" fmla="*/ 1903305 w 1967615"/>
              <a:gd name="connsiteY104" fmla="*/ 523764 h 1675246"/>
              <a:gd name="connsiteX105" fmla="*/ 1893077 w 1967615"/>
              <a:gd name="connsiteY105" fmla="*/ 511889 h 1675246"/>
              <a:gd name="connsiteX106" fmla="*/ 1760193 w 1967615"/>
              <a:gd name="connsiteY106" fmla="*/ 486558 h 1675246"/>
              <a:gd name="connsiteX107" fmla="*/ 1653731 w 1967615"/>
              <a:gd name="connsiteY107" fmla="*/ 494011 h 1675246"/>
              <a:gd name="connsiteX108" fmla="*/ 1630468 w 1967615"/>
              <a:gd name="connsiteY108" fmla="*/ 512518 h 1675246"/>
              <a:gd name="connsiteX109" fmla="*/ 1621093 w 1967615"/>
              <a:gd name="connsiteY109" fmla="*/ 523576 h 1675246"/>
              <a:gd name="connsiteX110" fmla="*/ 1621093 w 1967615"/>
              <a:gd name="connsiteY110" fmla="*/ 1054297 h 1675246"/>
              <a:gd name="connsiteX111" fmla="*/ 1651299 w 1967615"/>
              <a:gd name="connsiteY111" fmla="*/ 1616616 h 1675246"/>
              <a:gd name="connsiteX112" fmla="*/ 1751069 w 1967615"/>
              <a:gd name="connsiteY112" fmla="*/ 1626390 h 1675246"/>
              <a:gd name="connsiteX113" fmla="*/ 1852067 w 1967615"/>
              <a:gd name="connsiteY113" fmla="*/ 1623640 h 1675246"/>
              <a:gd name="connsiteX114" fmla="*/ 1900798 w 1967615"/>
              <a:gd name="connsiteY114" fmla="*/ 1585855 h 1675246"/>
              <a:gd name="connsiteX115" fmla="*/ 1905336 w 1967615"/>
              <a:gd name="connsiteY115" fmla="*/ 1469092 h 1675246"/>
              <a:gd name="connsiteX116" fmla="*/ 1905361 w 1967615"/>
              <a:gd name="connsiteY116" fmla="*/ 1365285 h 1675246"/>
              <a:gd name="connsiteX117" fmla="*/ 1916215 w 1967615"/>
              <a:gd name="connsiteY117" fmla="*/ 1358494 h 1675246"/>
              <a:gd name="connsiteX118" fmla="*/ 1957251 w 1967615"/>
              <a:gd name="connsiteY118" fmla="*/ 1359902 h 1675246"/>
              <a:gd name="connsiteX119" fmla="*/ 1967554 w 1967615"/>
              <a:gd name="connsiteY119" fmla="*/ 1368105 h 1675246"/>
              <a:gd name="connsiteX120" fmla="*/ 1966325 w 1967615"/>
              <a:gd name="connsiteY120" fmla="*/ 1481972 h 1675246"/>
              <a:gd name="connsiteX121" fmla="*/ 1955646 w 1967615"/>
              <a:gd name="connsiteY121" fmla="*/ 1612227 h 1675246"/>
              <a:gd name="connsiteX122" fmla="*/ 1887212 w 1967615"/>
              <a:gd name="connsiteY122" fmla="*/ 1666937 h 1675246"/>
              <a:gd name="connsiteX123" fmla="*/ 1767363 w 1967615"/>
              <a:gd name="connsiteY123" fmla="*/ 1675197 h 1675246"/>
              <a:gd name="connsiteX124" fmla="*/ 1651274 w 1967615"/>
              <a:gd name="connsiteY124" fmla="*/ 1671517 h 1675246"/>
              <a:gd name="connsiteX125" fmla="*/ 222239 w 1967615"/>
              <a:gd name="connsiteY125" fmla="*/ 914364 h 1675246"/>
              <a:gd name="connsiteX126" fmla="*/ 212112 w 1967615"/>
              <a:gd name="connsiteY126" fmla="*/ 898253 h 1675246"/>
              <a:gd name="connsiteX127" fmla="*/ 305990 w 1967615"/>
              <a:gd name="connsiteY127" fmla="*/ 789141 h 1675246"/>
              <a:gd name="connsiteX128" fmla="*/ 416965 w 1967615"/>
              <a:gd name="connsiteY128" fmla="*/ 669668 h 1675246"/>
              <a:gd name="connsiteX129" fmla="*/ 434086 w 1967615"/>
              <a:gd name="connsiteY129" fmla="*/ 651238 h 1675246"/>
              <a:gd name="connsiteX130" fmla="*/ 316970 w 1967615"/>
              <a:gd name="connsiteY130" fmla="*/ 584465 h 1675246"/>
              <a:gd name="connsiteX131" fmla="*/ 197798 w 1967615"/>
              <a:gd name="connsiteY131" fmla="*/ 490740 h 1675246"/>
              <a:gd name="connsiteX132" fmla="*/ 277037 w 1967615"/>
              <a:gd name="connsiteY132" fmla="*/ 468562 h 1675246"/>
              <a:gd name="connsiteX133" fmla="*/ 406587 w 1967615"/>
              <a:gd name="connsiteY133" fmla="*/ 447059 h 1675246"/>
              <a:gd name="connsiteX134" fmla="*/ 518740 w 1967615"/>
              <a:gd name="connsiteY134" fmla="*/ 438496 h 1675246"/>
              <a:gd name="connsiteX135" fmla="*/ 520069 w 1967615"/>
              <a:gd name="connsiteY135" fmla="*/ 471367 h 1675246"/>
              <a:gd name="connsiteX136" fmla="*/ 449002 w 1967615"/>
              <a:gd name="connsiteY136" fmla="*/ 491040 h 1675246"/>
              <a:gd name="connsiteX137" fmla="*/ 350135 w 1967615"/>
              <a:gd name="connsiteY137" fmla="*/ 508187 h 1675246"/>
              <a:gd name="connsiteX138" fmla="*/ 310302 w 1967615"/>
              <a:gd name="connsiteY138" fmla="*/ 515732 h 1675246"/>
              <a:gd name="connsiteX139" fmla="*/ 388238 w 1967615"/>
              <a:gd name="connsiteY139" fmla="*/ 563571 h 1675246"/>
              <a:gd name="connsiteX140" fmla="*/ 488859 w 1967615"/>
              <a:gd name="connsiteY140" fmla="*/ 621814 h 1675246"/>
              <a:gd name="connsiteX141" fmla="*/ 416013 w 1967615"/>
              <a:gd name="connsiteY141" fmla="*/ 754916 h 1675246"/>
              <a:gd name="connsiteX142" fmla="*/ 323362 w 1967615"/>
              <a:gd name="connsiteY142" fmla="*/ 855946 h 1675246"/>
              <a:gd name="connsiteX143" fmla="*/ 512874 w 1967615"/>
              <a:gd name="connsiteY143" fmla="*/ 808536 h 1675246"/>
              <a:gd name="connsiteX144" fmla="*/ 1354648 w 1967615"/>
              <a:gd name="connsiteY144" fmla="*/ 291717 h 1675246"/>
              <a:gd name="connsiteX145" fmla="*/ 1423008 w 1967615"/>
              <a:gd name="connsiteY145" fmla="*/ 237503 h 1675246"/>
              <a:gd name="connsiteX146" fmla="*/ 1462113 w 1967615"/>
              <a:gd name="connsiteY146" fmla="*/ 257372 h 1675246"/>
              <a:gd name="connsiteX147" fmla="*/ 1488810 w 1967615"/>
              <a:gd name="connsiteY147" fmla="*/ 277240 h 1675246"/>
              <a:gd name="connsiteX148" fmla="*/ 1492871 w 1967615"/>
              <a:gd name="connsiteY148" fmla="*/ 264744 h 1675246"/>
              <a:gd name="connsiteX149" fmla="*/ 1545464 w 1967615"/>
              <a:gd name="connsiteY149" fmla="*/ 58279 h 1675246"/>
              <a:gd name="connsiteX150" fmla="*/ 1275309 w 1967615"/>
              <a:gd name="connsiteY150" fmla="*/ 98480 h 1675246"/>
              <a:gd name="connsiteX151" fmla="*/ 1298998 w 1967615"/>
              <a:gd name="connsiteY151" fmla="*/ 123834 h 1675246"/>
              <a:gd name="connsiteX152" fmla="*/ 1328603 w 1967615"/>
              <a:gd name="connsiteY152" fmla="*/ 159545 h 1675246"/>
              <a:gd name="connsiteX153" fmla="*/ 1301730 w 1967615"/>
              <a:gd name="connsiteY153" fmla="*/ 189684 h 1675246"/>
              <a:gd name="connsiteX154" fmla="*/ 863045 w 1967615"/>
              <a:gd name="connsiteY154" fmla="*/ 387641 h 1675246"/>
              <a:gd name="connsiteX155" fmla="*/ 631119 w 1967615"/>
              <a:gd name="connsiteY155" fmla="*/ 450511 h 1675246"/>
              <a:gd name="connsiteX156" fmla="*/ 603494 w 1967615"/>
              <a:gd name="connsiteY156" fmla="*/ 427231 h 1675246"/>
              <a:gd name="connsiteX157" fmla="*/ 645683 w 1967615"/>
              <a:gd name="connsiteY157" fmla="*/ 396355 h 1675246"/>
              <a:gd name="connsiteX158" fmla="*/ 1211085 w 1967615"/>
              <a:gd name="connsiteY158" fmla="*/ 182018 h 1675246"/>
              <a:gd name="connsiteX159" fmla="*/ 1251194 w 1967615"/>
              <a:gd name="connsiteY159" fmla="*/ 158344 h 1675246"/>
              <a:gd name="connsiteX160" fmla="*/ 1213968 w 1967615"/>
              <a:gd name="connsiteY160" fmla="*/ 128145 h 1675246"/>
              <a:gd name="connsiteX161" fmla="*/ 1173935 w 1967615"/>
              <a:gd name="connsiteY161" fmla="*/ 89052 h 1675246"/>
              <a:gd name="connsiteX162" fmla="*/ 1193889 w 1967615"/>
              <a:gd name="connsiteY162" fmla="*/ 60909 h 1675246"/>
              <a:gd name="connsiteX163" fmla="*/ 1399243 w 1967615"/>
              <a:gd name="connsiteY163" fmla="*/ 27685 h 1675246"/>
              <a:gd name="connsiteX164" fmla="*/ 1606178 w 1967615"/>
              <a:gd name="connsiteY164" fmla="*/ 2637 h 1675246"/>
              <a:gd name="connsiteX165" fmla="*/ 1619363 w 1967615"/>
              <a:gd name="connsiteY165" fmla="*/ 16136 h 1675246"/>
              <a:gd name="connsiteX166" fmla="*/ 1534083 w 1967615"/>
              <a:gd name="connsiteY166" fmla="*/ 343113 h 1675246"/>
              <a:gd name="connsiteX167" fmla="*/ 1505505 w 1967615"/>
              <a:gd name="connsiteY167" fmla="*/ 355477 h 1675246"/>
              <a:gd name="connsiteX168" fmla="*/ 1462740 w 1967615"/>
              <a:gd name="connsiteY168" fmla="*/ 329261 h 1675246"/>
              <a:gd name="connsiteX169" fmla="*/ 1426768 w 1967615"/>
              <a:gd name="connsiteY169" fmla="*/ 303045 h 1675246"/>
              <a:gd name="connsiteX170" fmla="*/ 1404633 w 1967615"/>
              <a:gd name="connsiteY170" fmla="*/ 323525 h 1675246"/>
              <a:gd name="connsiteX171" fmla="*/ 1066996 w 1967615"/>
              <a:gd name="connsiteY171" fmla="*/ 599626 h 1675246"/>
              <a:gd name="connsiteX172" fmla="*/ 321607 w 1967615"/>
              <a:gd name="connsiteY172" fmla="*/ 909538 h 1675246"/>
              <a:gd name="connsiteX173" fmla="*/ 222239 w 1967615"/>
              <a:gd name="connsiteY173" fmla="*/ 914364 h 1675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1967615" h="1675246">
                <a:moveTo>
                  <a:pt x="94694" y="1671652"/>
                </a:moveTo>
                <a:cubicBezTo>
                  <a:pt x="67596" y="1664656"/>
                  <a:pt x="54235" y="1657875"/>
                  <a:pt x="34507" y="1641095"/>
                </a:cubicBezTo>
                <a:cubicBezTo>
                  <a:pt x="741" y="1612397"/>
                  <a:pt x="-61" y="1608687"/>
                  <a:pt x="-61" y="1481145"/>
                </a:cubicBezTo>
                <a:lnTo>
                  <a:pt x="-61" y="1369724"/>
                </a:lnTo>
                <a:lnTo>
                  <a:pt x="10868" y="1351217"/>
                </a:lnTo>
                <a:cubicBezTo>
                  <a:pt x="24154" y="1328666"/>
                  <a:pt x="47016" y="1309875"/>
                  <a:pt x="74289" y="1299131"/>
                </a:cubicBezTo>
                <a:cubicBezTo>
                  <a:pt x="94043" y="1291340"/>
                  <a:pt x="98004" y="1291042"/>
                  <a:pt x="195843" y="1290054"/>
                </a:cubicBezTo>
                <a:cubicBezTo>
                  <a:pt x="291351" y="1289089"/>
                  <a:pt x="298320" y="1289430"/>
                  <a:pt x="321482" y="1296195"/>
                </a:cubicBezTo>
                <a:cubicBezTo>
                  <a:pt x="339456" y="1301447"/>
                  <a:pt x="352165" y="1308321"/>
                  <a:pt x="369036" y="1321943"/>
                </a:cubicBezTo>
                <a:cubicBezTo>
                  <a:pt x="406236" y="1351979"/>
                  <a:pt x="407163" y="1355511"/>
                  <a:pt x="408918" y="1473680"/>
                </a:cubicBezTo>
                <a:cubicBezTo>
                  <a:pt x="410548" y="1583163"/>
                  <a:pt x="408116" y="1600628"/>
                  <a:pt x="387811" y="1626222"/>
                </a:cubicBezTo>
                <a:cubicBezTo>
                  <a:pt x="374776" y="1642629"/>
                  <a:pt x="350962" y="1659023"/>
                  <a:pt x="327674" y="1667591"/>
                </a:cubicBezTo>
                <a:cubicBezTo>
                  <a:pt x="310477" y="1673923"/>
                  <a:pt x="300826" y="1674547"/>
                  <a:pt x="210056" y="1675197"/>
                </a:cubicBezTo>
                <a:cubicBezTo>
                  <a:pt x="138137" y="1675711"/>
                  <a:pt x="106702" y="1674746"/>
                  <a:pt x="94694" y="1671652"/>
                </a:cubicBezTo>
                <a:close/>
                <a:moveTo>
                  <a:pt x="311154" y="1618122"/>
                </a:moveTo>
                <a:cubicBezTo>
                  <a:pt x="319176" y="1614157"/>
                  <a:pt x="329905" y="1605005"/>
                  <a:pt x="334994" y="1597785"/>
                </a:cubicBezTo>
                <a:cubicBezTo>
                  <a:pt x="344169" y="1584815"/>
                  <a:pt x="344269" y="1583389"/>
                  <a:pt x="343090" y="1478829"/>
                </a:cubicBezTo>
                <a:cubicBezTo>
                  <a:pt x="341887" y="1373066"/>
                  <a:pt x="341887" y="1372995"/>
                  <a:pt x="332011" y="1361971"/>
                </a:cubicBezTo>
                <a:cubicBezTo>
                  <a:pt x="313511" y="1341347"/>
                  <a:pt x="299122" y="1338735"/>
                  <a:pt x="203890" y="1338735"/>
                </a:cubicBezTo>
                <a:cubicBezTo>
                  <a:pt x="130642" y="1338735"/>
                  <a:pt x="117230" y="1339538"/>
                  <a:pt x="102942" y="1344757"/>
                </a:cubicBezTo>
                <a:cubicBezTo>
                  <a:pt x="62909" y="1359381"/>
                  <a:pt x="60076" y="1368310"/>
                  <a:pt x="59876" y="1481145"/>
                </a:cubicBezTo>
                <a:cubicBezTo>
                  <a:pt x="59725" y="1579523"/>
                  <a:pt x="61630" y="1591809"/>
                  <a:pt x="79503" y="1607622"/>
                </a:cubicBezTo>
                <a:cubicBezTo>
                  <a:pt x="99056" y="1624908"/>
                  <a:pt x="113897" y="1627011"/>
                  <a:pt x="210056" y="1626129"/>
                </a:cubicBezTo>
                <a:cubicBezTo>
                  <a:pt x="291100" y="1625385"/>
                  <a:pt x="297492" y="1624878"/>
                  <a:pt x="311154" y="1618122"/>
                </a:cubicBezTo>
                <a:close/>
                <a:moveTo>
                  <a:pt x="613797" y="1671652"/>
                </a:moveTo>
                <a:cubicBezTo>
                  <a:pt x="604747" y="1669313"/>
                  <a:pt x="591662" y="1665052"/>
                  <a:pt x="584743" y="1662184"/>
                </a:cubicBezTo>
                <a:cubicBezTo>
                  <a:pt x="566920" y="1654794"/>
                  <a:pt x="538418" y="1629185"/>
                  <a:pt x="527940" y="1611164"/>
                </a:cubicBezTo>
                <a:cubicBezTo>
                  <a:pt x="519116" y="1595963"/>
                  <a:pt x="519041" y="1594175"/>
                  <a:pt x="519041" y="1384471"/>
                </a:cubicBezTo>
                <a:cubicBezTo>
                  <a:pt x="519041" y="1174767"/>
                  <a:pt x="519116" y="1172980"/>
                  <a:pt x="527940" y="1157779"/>
                </a:cubicBezTo>
                <a:cubicBezTo>
                  <a:pt x="540549" y="1136078"/>
                  <a:pt x="567572" y="1114124"/>
                  <a:pt x="594670" y="1103532"/>
                </a:cubicBezTo>
                <a:lnTo>
                  <a:pt x="617933" y="1094453"/>
                </a:lnTo>
                <a:lnTo>
                  <a:pt x="722967" y="1094453"/>
                </a:lnTo>
                <a:lnTo>
                  <a:pt x="828025" y="1094453"/>
                </a:lnTo>
                <a:lnTo>
                  <a:pt x="851514" y="1103628"/>
                </a:lnTo>
                <a:cubicBezTo>
                  <a:pt x="879715" y="1114635"/>
                  <a:pt x="908769" y="1139186"/>
                  <a:pt x="919272" y="1160832"/>
                </a:cubicBezTo>
                <a:cubicBezTo>
                  <a:pt x="926216" y="1175174"/>
                  <a:pt x="926892" y="1191974"/>
                  <a:pt x="928020" y="1377753"/>
                </a:cubicBezTo>
                <a:cubicBezTo>
                  <a:pt x="929224" y="1572279"/>
                  <a:pt x="928998" y="1579872"/>
                  <a:pt x="920901" y="1601034"/>
                </a:cubicBezTo>
                <a:cubicBezTo>
                  <a:pt x="910348" y="1628691"/>
                  <a:pt x="884879" y="1652285"/>
                  <a:pt x="851539" y="1665312"/>
                </a:cubicBezTo>
                <a:lnTo>
                  <a:pt x="828025" y="1674490"/>
                </a:lnTo>
                <a:lnTo>
                  <a:pt x="729158" y="1675197"/>
                </a:lnTo>
                <a:cubicBezTo>
                  <a:pt x="657214" y="1675711"/>
                  <a:pt x="625779" y="1674746"/>
                  <a:pt x="613797" y="1671652"/>
                </a:cubicBezTo>
                <a:close/>
                <a:moveTo>
                  <a:pt x="832864" y="1616616"/>
                </a:moveTo>
                <a:cubicBezTo>
                  <a:pt x="866128" y="1599084"/>
                  <a:pt x="864950" y="1606860"/>
                  <a:pt x="866304" y="1394619"/>
                </a:cubicBezTo>
                <a:cubicBezTo>
                  <a:pt x="867106" y="1268511"/>
                  <a:pt x="866028" y="1200858"/>
                  <a:pt x="863020" y="1189379"/>
                </a:cubicBezTo>
                <a:cubicBezTo>
                  <a:pt x="856979" y="1166244"/>
                  <a:pt x="837075" y="1150221"/>
                  <a:pt x="807971" y="1145087"/>
                </a:cubicBezTo>
                <a:cubicBezTo>
                  <a:pt x="794886" y="1142781"/>
                  <a:pt x="757811" y="1141788"/>
                  <a:pt x="710608" y="1142485"/>
                </a:cubicBezTo>
                <a:cubicBezTo>
                  <a:pt x="623272" y="1143771"/>
                  <a:pt x="610663" y="1146616"/>
                  <a:pt x="591813" y="1169275"/>
                </a:cubicBezTo>
                <a:lnTo>
                  <a:pt x="580833" y="1182448"/>
                </a:lnTo>
                <a:lnTo>
                  <a:pt x="579680" y="1376954"/>
                </a:lnTo>
                <a:cubicBezTo>
                  <a:pt x="578903" y="1507737"/>
                  <a:pt x="579981" y="1575730"/>
                  <a:pt x="582938" y="1584494"/>
                </a:cubicBezTo>
                <a:cubicBezTo>
                  <a:pt x="588228" y="1600076"/>
                  <a:pt x="610764" y="1619012"/>
                  <a:pt x="629289" y="1623429"/>
                </a:cubicBezTo>
                <a:cubicBezTo>
                  <a:pt x="636633" y="1625179"/>
                  <a:pt x="681705" y="1626325"/>
                  <a:pt x="729459" y="1625974"/>
                </a:cubicBezTo>
                <a:cubicBezTo>
                  <a:pt x="815993" y="1625337"/>
                  <a:pt x="816369" y="1625302"/>
                  <a:pt x="832864" y="1616616"/>
                </a:cubicBezTo>
                <a:close/>
                <a:moveTo>
                  <a:pt x="1132172" y="1671517"/>
                </a:moveTo>
                <a:cubicBezTo>
                  <a:pt x="1095749" y="1662229"/>
                  <a:pt x="1063386" y="1639245"/>
                  <a:pt x="1046942" y="1610988"/>
                </a:cubicBezTo>
                <a:lnTo>
                  <a:pt x="1038143" y="1595842"/>
                </a:lnTo>
                <a:lnTo>
                  <a:pt x="1038143" y="1264858"/>
                </a:lnTo>
                <a:lnTo>
                  <a:pt x="1038143" y="933877"/>
                </a:lnTo>
                <a:lnTo>
                  <a:pt x="1047042" y="918555"/>
                </a:lnTo>
                <a:cubicBezTo>
                  <a:pt x="1059651" y="896852"/>
                  <a:pt x="1086649" y="874900"/>
                  <a:pt x="1113772" y="864306"/>
                </a:cubicBezTo>
                <a:lnTo>
                  <a:pt x="1137010" y="855227"/>
                </a:lnTo>
                <a:lnTo>
                  <a:pt x="1242069" y="855227"/>
                </a:lnTo>
                <a:lnTo>
                  <a:pt x="1347128" y="855227"/>
                </a:lnTo>
                <a:lnTo>
                  <a:pt x="1370366" y="864306"/>
                </a:lnTo>
                <a:cubicBezTo>
                  <a:pt x="1397489" y="874900"/>
                  <a:pt x="1424487" y="896852"/>
                  <a:pt x="1437096" y="918555"/>
                </a:cubicBezTo>
                <a:lnTo>
                  <a:pt x="1446020" y="933877"/>
                </a:lnTo>
                <a:lnTo>
                  <a:pt x="1446020" y="1264858"/>
                </a:lnTo>
                <a:lnTo>
                  <a:pt x="1446020" y="1595842"/>
                </a:lnTo>
                <a:lnTo>
                  <a:pt x="1434589" y="1614330"/>
                </a:lnTo>
                <a:cubicBezTo>
                  <a:pt x="1421278" y="1635898"/>
                  <a:pt x="1393678" y="1657379"/>
                  <a:pt x="1366405" y="1667408"/>
                </a:cubicBezTo>
                <a:cubicBezTo>
                  <a:pt x="1348556" y="1673968"/>
                  <a:pt x="1339833" y="1674542"/>
                  <a:pt x="1248261" y="1675197"/>
                </a:cubicBezTo>
                <a:cubicBezTo>
                  <a:pt x="1174913" y="1675721"/>
                  <a:pt x="1144931" y="1674771"/>
                  <a:pt x="1132172" y="1671517"/>
                </a:cubicBezTo>
                <a:close/>
                <a:moveTo>
                  <a:pt x="1350011" y="1617797"/>
                </a:moveTo>
                <a:cubicBezTo>
                  <a:pt x="1358408" y="1613650"/>
                  <a:pt x="1369513" y="1604802"/>
                  <a:pt x="1374727" y="1598133"/>
                </a:cubicBezTo>
                <a:lnTo>
                  <a:pt x="1384203" y="1586011"/>
                </a:lnTo>
                <a:lnTo>
                  <a:pt x="1384203" y="1264858"/>
                </a:lnTo>
                <a:lnTo>
                  <a:pt x="1384203" y="943708"/>
                </a:lnTo>
                <a:lnTo>
                  <a:pt x="1374727" y="931585"/>
                </a:lnTo>
                <a:cubicBezTo>
                  <a:pt x="1369513" y="924918"/>
                  <a:pt x="1358408" y="916069"/>
                  <a:pt x="1350011" y="911922"/>
                </a:cubicBezTo>
                <a:cubicBezTo>
                  <a:pt x="1335271" y="904635"/>
                  <a:pt x="1331661" y="904385"/>
                  <a:pt x="1241768" y="904385"/>
                </a:cubicBezTo>
                <a:lnTo>
                  <a:pt x="1148767" y="904385"/>
                </a:lnTo>
                <a:lnTo>
                  <a:pt x="1132222" y="913103"/>
                </a:lnTo>
                <a:cubicBezTo>
                  <a:pt x="1123098" y="917899"/>
                  <a:pt x="1112118" y="927484"/>
                  <a:pt x="1107806" y="934403"/>
                </a:cubicBezTo>
                <a:cubicBezTo>
                  <a:pt x="1100261" y="946468"/>
                  <a:pt x="1099885" y="959611"/>
                  <a:pt x="1098807" y="1254934"/>
                </a:cubicBezTo>
                <a:cubicBezTo>
                  <a:pt x="1098030" y="1470434"/>
                  <a:pt x="1099033" y="1568125"/>
                  <a:pt x="1102241" y="1580338"/>
                </a:cubicBezTo>
                <a:cubicBezTo>
                  <a:pt x="1107481" y="1600405"/>
                  <a:pt x="1126557" y="1618225"/>
                  <a:pt x="1148366" y="1623429"/>
                </a:cubicBezTo>
                <a:cubicBezTo>
                  <a:pt x="1155736" y="1625179"/>
                  <a:pt x="1200682" y="1626325"/>
                  <a:pt x="1248261" y="1625974"/>
                </a:cubicBezTo>
                <a:cubicBezTo>
                  <a:pt x="1330658" y="1625365"/>
                  <a:pt x="1335496" y="1624976"/>
                  <a:pt x="1350011" y="1617797"/>
                </a:cubicBezTo>
                <a:close/>
                <a:moveTo>
                  <a:pt x="1651274" y="1671517"/>
                </a:moveTo>
                <a:cubicBezTo>
                  <a:pt x="1612269" y="1661575"/>
                  <a:pt x="1577425" y="1635317"/>
                  <a:pt x="1564665" y="1606230"/>
                </a:cubicBezTo>
                <a:cubicBezTo>
                  <a:pt x="1557621" y="1590167"/>
                  <a:pt x="1557245" y="1561432"/>
                  <a:pt x="1557245" y="1053490"/>
                </a:cubicBezTo>
                <a:lnTo>
                  <a:pt x="1557245" y="517692"/>
                </a:lnTo>
                <a:lnTo>
                  <a:pt x="1567949" y="499518"/>
                </a:lnTo>
                <a:cubicBezTo>
                  <a:pt x="1583266" y="473581"/>
                  <a:pt x="1601339" y="458761"/>
                  <a:pt x="1632699" y="446483"/>
                </a:cubicBezTo>
                <a:lnTo>
                  <a:pt x="1660073" y="435766"/>
                </a:lnTo>
                <a:lnTo>
                  <a:pt x="1761096" y="435766"/>
                </a:lnTo>
                <a:lnTo>
                  <a:pt x="1862119" y="435766"/>
                </a:lnTo>
                <a:lnTo>
                  <a:pt x="1887838" y="445222"/>
                </a:lnTo>
                <a:cubicBezTo>
                  <a:pt x="1917318" y="456043"/>
                  <a:pt x="1942912" y="476225"/>
                  <a:pt x="1956198" y="499092"/>
                </a:cubicBezTo>
                <a:lnTo>
                  <a:pt x="1965097" y="514414"/>
                </a:lnTo>
                <a:lnTo>
                  <a:pt x="1966225" y="896170"/>
                </a:lnTo>
                <a:cubicBezTo>
                  <a:pt x="1967027" y="1169491"/>
                  <a:pt x="1966050" y="1280413"/>
                  <a:pt x="1962766" y="1286677"/>
                </a:cubicBezTo>
                <a:cubicBezTo>
                  <a:pt x="1954468" y="1302620"/>
                  <a:pt x="1922206" y="1305994"/>
                  <a:pt x="1910926" y="1292097"/>
                </a:cubicBezTo>
                <a:cubicBezTo>
                  <a:pt x="1908996" y="1289733"/>
                  <a:pt x="1906514" y="1115891"/>
                  <a:pt x="1905361" y="905781"/>
                </a:cubicBezTo>
                <a:lnTo>
                  <a:pt x="1903305" y="523764"/>
                </a:lnTo>
                <a:lnTo>
                  <a:pt x="1893077" y="511889"/>
                </a:lnTo>
                <a:cubicBezTo>
                  <a:pt x="1872597" y="488103"/>
                  <a:pt x="1864500" y="486558"/>
                  <a:pt x="1760193" y="486558"/>
                </a:cubicBezTo>
                <a:cubicBezTo>
                  <a:pt x="1670752" y="486558"/>
                  <a:pt x="1667167" y="486809"/>
                  <a:pt x="1653731" y="494011"/>
                </a:cubicBezTo>
                <a:cubicBezTo>
                  <a:pt x="1646085" y="498110"/>
                  <a:pt x="1635607" y="506437"/>
                  <a:pt x="1630468" y="512518"/>
                </a:cubicBezTo>
                <a:lnTo>
                  <a:pt x="1621093" y="523576"/>
                </a:lnTo>
                <a:lnTo>
                  <a:pt x="1621093" y="1054297"/>
                </a:lnTo>
                <a:cubicBezTo>
                  <a:pt x="1621093" y="1648765"/>
                  <a:pt x="1618436" y="1599307"/>
                  <a:pt x="1651299" y="1616616"/>
                </a:cubicBezTo>
                <a:cubicBezTo>
                  <a:pt x="1667643" y="1625227"/>
                  <a:pt x="1668872" y="1625347"/>
                  <a:pt x="1751069" y="1626390"/>
                </a:cubicBezTo>
                <a:cubicBezTo>
                  <a:pt x="1805466" y="1627082"/>
                  <a:pt x="1840460" y="1626127"/>
                  <a:pt x="1852067" y="1623640"/>
                </a:cubicBezTo>
                <a:cubicBezTo>
                  <a:pt x="1874202" y="1618902"/>
                  <a:pt x="1894857" y="1602876"/>
                  <a:pt x="1900798" y="1585855"/>
                </a:cubicBezTo>
                <a:cubicBezTo>
                  <a:pt x="1903631" y="1577713"/>
                  <a:pt x="1905336" y="1534336"/>
                  <a:pt x="1905336" y="1469092"/>
                </a:cubicBezTo>
                <a:lnTo>
                  <a:pt x="1905361" y="1365285"/>
                </a:lnTo>
                <a:lnTo>
                  <a:pt x="1916215" y="1358494"/>
                </a:lnTo>
                <a:cubicBezTo>
                  <a:pt x="1930679" y="1349442"/>
                  <a:pt x="1944717" y="1349923"/>
                  <a:pt x="1957251" y="1359902"/>
                </a:cubicBezTo>
                <a:lnTo>
                  <a:pt x="1967554" y="1368105"/>
                </a:lnTo>
                <a:lnTo>
                  <a:pt x="1966325" y="1481972"/>
                </a:lnTo>
                <a:cubicBezTo>
                  <a:pt x="1965147" y="1592751"/>
                  <a:pt x="1964846" y="1596286"/>
                  <a:pt x="1955646" y="1612227"/>
                </a:cubicBezTo>
                <a:cubicBezTo>
                  <a:pt x="1943263" y="1633649"/>
                  <a:pt x="1913457" y="1657481"/>
                  <a:pt x="1887212" y="1666937"/>
                </a:cubicBezTo>
                <a:cubicBezTo>
                  <a:pt x="1867383" y="1674074"/>
                  <a:pt x="1860765" y="1674530"/>
                  <a:pt x="1767363" y="1675197"/>
                </a:cubicBezTo>
                <a:cubicBezTo>
                  <a:pt x="1694015" y="1675721"/>
                  <a:pt x="1664034" y="1674771"/>
                  <a:pt x="1651274" y="1671517"/>
                </a:cubicBezTo>
                <a:close/>
                <a:moveTo>
                  <a:pt x="222239" y="914364"/>
                </a:moveTo>
                <a:cubicBezTo>
                  <a:pt x="216674" y="909940"/>
                  <a:pt x="212112" y="902690"/>
                  <a:pt x="212112" y="898253"/>
                </a:cubicBezTo>
                <a:cubicBezTo>
                  <a:pt x="212112" y="892873"/>
                  <a:pt x="243396" y="856518"/>
                  <a:pt x="305990" y="789141"/>
                </a:cubicBezTo>
                <a:cubicBezTo>
                  <a:pt x="357605" y="733568"/>
                  <a:pt x="407565" y="679805"/>
                  <a:pt x="416965" y="669668"/>
                </a:cubicBezTo>
                <a:lnTo>
                  <a:pt x="434086" y="651238"/>
                </a:lnTo>
                <a:lnTo>
                  <a:pt x="316970" y="584465"/>
                </a:lnTo>
                <a:cubicBezTo>
                  <a:pt x="192383" y="513431"/>
                  <a:pt x="187746" y="509786"/>
                  <a:pt x="197798" y="490740"/>
                </a:cubicBezTo>
                <a:cubicBezTo>
                  <a:pt x="204215" y="478634"/>
                  <a:pt x="203564" y="478812"/>
                  <a:pt x="277037" y="468562"/>
                </a:cubicBezTo>
                <a:cubicBezTo>
                  <a:pt x="309099" y="464088"/>
                  <a:pt x="367406" y="454412"/>
                  <a:pt x="406587" y="447059"/>
                </a:cubicBezTo>
                <a:cubicBezTo>
                  <a:pt x="506532" y="428304"/>
                  <a:pt x="505980" y="428349"/>
                  <a:pt x="518740" y="438496"/>
                </a:cubicBezTo>
                <a:cubicBezTo>
                  <a:pt x="531800" y="448894"/>
                  <a:pt x="532277" y="460681"/>
                  <a:pt x="520069" y="471367"/>
                </a:cubicBezTo>
                <a:cubicBezTo>
                  <a:pt x="512649" y="477875"/>
                  <a:pt x="498585" y="481763"/>
                  <a:pt x="449002" y="491040"/>
                </a:cubicBezTo>
                <a:cubicBezTo>
                  <a:pt x="415010" y="497398"/>
                  <a:pt x="370515" y="505116"/>
                  <a:pt x="350135" y="508187"/>
                </a:cubicBezTo>
                <a:cubicBezTo>
                  <a:pt x="329730" y="511260"/>
                  <a:pt x="311806" y="514654"/>
                  <a:pt x="310302" y="515732"/>
                </a:cubicBezTo>
                <a:cubicBezTo>
                  <a:pt x="308773" y="516810"/>
                  <a:pt x="343843" y="538336"/>
                  <a:pt x="388238" y="563571"/>
                </a:cubicBezTo>
                <a:cubicBezTo>
                  <a:pt x="432632" y="588805"/>
                  <a:pt x="477930" y="615013"/>
                  <a:pt x="488859" y="621814"/>
                </a:cubicBezTo>
                <a:cubicBezTo>
                  <a:pt x="521673" y="642221"/>
                  <a:pt x="522826" y="640151"/>
                  <a:pt x="416013" y="754916"/>
                </a:cubicBezTo>
                <a:cubicBezTo>
                  <a:pt x="365050" y="809689"/>
                  <a:pt x="323362" y="855154"/>
                  <a:pt x="323362" y="855946"/>
                </a:cubicBezTo>
                <a:cubicBezTo>
                  <a:pt x="323362" y="860413"/>
                  <a:pt x="441557" y="830838"/>
                  <a:pt x="512874" y="808536"/>
                </a:cubicBezTo>
                <a:cubicBezTo>
                  <a:pt x="817873" y="713120"/>
                  <a:pt x="1137261" y="517046"/>
                  <a:pt x="1354648" y="291717"/>
                </a:cubicBezTo>
                <a:cubicBezTo>
                  <a:pt x="1403605" y="240965"/>
                  <a:pt x="1407967" y="237503"/>
                  <a:pt x="1423008" y="237503"/>
                </a:cubicBezTo>
                <a:cubicBezTo>
                  <a:pt x="1432483" y="237503"/>
                  <a:pt x="1441683" y="242173"/>
                  <a:pt x="1462113" y="257372"/>
                </a:cubicBezTo>
                <a:lnTo>
                  <a:pt x="1488810" y="277240"/>
                </a:lnTo>
                <a:lnTo>
                  <a:pt x="1492871" y="264744"/>
                </a:lnTo>
                <a:cubicBezTo>
                  <a:pt x="1504277" y="229506"/>
                  <a:pt x="1547519" y="59898"/>
                  <a:pt x="1545464" y="58279"/>
                </a:cubicBezTo>
                <a:cubicBezTo>
                  <a:pt x="1543383" y="56623"/>
                  <a:pt x="1290424" y="94266"/>
                  <a:pt x="1275309" y="98480"/>
                </a:cubicBezTo>
                <a:cubicBezTo>
                  <a:pt x="1271223" y="99618"/>
                  <a:pt x="1278542" y="107452"/>
                  <a:pt x="1298998" y="123834"/>
                </a:cubicBezTo>
                <a:cubicBezTo>
                  <a:pt x="1324893" y="144585"/>
                  <a:pt x="1328603" y="149034"/>
                  <a:pt x="1328603" y="159545"/>
                </a:cubicBezTo>
                <a:cubicBezTo>
                  <a:pt x="1328603" y="170289"/>
                  <a:pt x="1325770" y="173460"/>
                  <a:pt x="1301730" y="189684"/>
                </a:cubicBezTo>
                <a:cubicBezTo>
                  <a:pt x="1200457" y="258013"/>
                  <a:pt x="1034032" y="333121"/>
                  <a:pt x="863045" y="387641"/>
                </a:cubicBezTo>
                <a:cubicBezTo>
                  <a:pt x="781375" y="413681"/>
                  <a:pt x="645508" y="450511"/>
                  <a:pt x="631119" y="450511"/>
                </a:cubicBezTo>
                <a:cubicBezTo>
                  <a:pt x="617206" y="450511"/>
                  <a:pt x="603494" y="438962"/>
                  <a:pt x="603494" y="427231"/>
                </a:cubicBezTo>
                <a:cubicBezTo>
                  <a:pt x="603494" y="410270"/>
                  <a:pt x="609761" y="405685"/>
                  <a:pt x="645683" y="396355"/>
                </a:cubicBezTo>
                <a:cubicBezTo>
                  <a:pt x="885455" y="334081"/>
                  <a:pt x="1075394" y="262077"/>
                  <a:pt x="1211085" y="182018"/>
                </a:cubicBezTo>
                <a:lnTo>
                  <a:pt x="1251194" y="158344"/>
                </a:lnTo>
                <a:lnTo>
                  <a:pt x="1213968" y="128145"/>
                </a:lnTo>
                <a:cubicBezTo>
                  <a:pt x="1193488" y="111538"/>
                  <a:pt x="1175489" y="93945"/>
                  <a:pt x="1173935" y="89052"/>
                </a:cubicBezTo>
                <a:cubicBezTo>
                  <a:pt x="1170601" y="78489"/>
                  <a:pt x="1180277" y="64845"/>
                  <a:pt x="1193889" y="60909"/>
                </a:cubicBezTo>
                <a:cubicBezTo>
                  <a:pt x="1198852" y="59469"/>
                  <a:pt x="1291277" y="44518"/>
                  <a:pt x="1399243" y="27685"/>
                </a:cubicBezTo>
                <a:cubicBezTo>
                  <a:pt x="1588805" y="-1870"/>
                  <a:pt x="1595900" y="-2729"/>
                  <a:pt x="1606178" y="2637"/>
                </a:cubicBezTo>
                <a:cubicBezTo>
                  <a:pt x="1612043" y="5693"/>
                  <a:pt x="1617984" y="11767"/>
                  <a:pt x="1619363" y="16136"/>
                </a:cubicBezTo>
                <a:cubicBezTo>
                  <a:pt x="1621870" y="24089"/>
                  <a:pt x="1541578" y="331963"/>
                  <a:pt x="1534083" y="343113"/>
                </a:cubicBezTo>
                <a:cubicBezTo>
                  <a:pt x="1529295" y="350245"/>
                  <a:pt x="1517187" y="355477"/>
                  <a:pt x="1505505" y="355477"/>
                </a:cubicBezTo>
                <a:cubicBezTo>
                  <a:pt x="1499815" y="355477"/>
                  <a:pt x="1484123" y="345858"/>
                  <a:pt x="1462740" y="329261"/>
                </a:cubicBezTo>
                <a:cubicBezTo>
                  <a:pt x="1444165" y="314842"/>
                  <a:pt x="1427971" y="303045"/>
                  <a:pt x="1426768" y="303045"/>
                </a:cubicBezTo>
                <a:cubicBezTo>
                  <a:pt x="1425565" y="303045"/>
                  <a:pt x="1415588" y="312263"/>
                  <a:pt x="1404633" y="323525"/>
                </a:cubicBezTo>
                <a:cubicBezTo>
                  <a:pt x="1317698" y="412864"/>
                  <a:pt x="1183962" y="522225"/>
                  <a:pt x="1066996" y="599626"/>
                </a:cubicBezTo>
                <a:cubicBezTo>
                  <a:pt x="834443" y="753502"/>
                  <a:pt x="581986" y="858473"/>
                  <a:pt x="321607" y="909538"/>
                </a:cubicBezTo>
                <a:cubicBezTo>
                  <a:pt x="244274" y="924704"/>
                  <a:pt x="235750" y="925118"/>
                  <a:pt x="222239" y="914364"/>
                </a:cubicBezTo>
                <a:close/>
              </a:path>
            </a:pathLst>
          </a:custGeom>
          <a:solidFill>
            <a:srgbClr val="509AAF"/>
          </a:solidFill>
          <a:ln w="3659" cap="flat">
            <a:noFill/>
            <a:prstDash val="solid"/>
            <a:miter/>
          </a:ln>
        </p:spPr>
        <p:txBody>
          <a:bodyPr vert="horz" rtlCol="0" anchor="t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EEF05898-2764-4513-AA88-84FF4C258122}"/>
              </a:ext>
            </a:extLst>
          </p:cNvPr>
          <p:cNvSpPr/>
          <p:nvPr/>
        </p:nvSpPr>
        <p:spPr>
          <a:xfrm>
            <a:off x="5485341" y="3355159"/>
            <a:ext cx="457200" cy="457200"/>
          </a:xfrm>
          <a:custGeom>
            <a:avLst/>
            <a:gdLst>
              <a:gd name="connsiteX0" fmla="*/ 903558 w 1816431"/>
              <a:gd name="connsiteY0" fmla="*/ 1811542 h 1816473"/>
              <a:gd name="connsiteX1" fmla="*/ 854978 w 1816431"/>
              <a:gd name="connsiteY1" fmla="*/ 1779430 h 1816473"/>
              <a:gd name="connsiteX2" fmla="*/ 846956 w 1816431"/>
              <a:gd name="connsiteY2" fmla="*/ 1770882 h 1816473"/>
              <a:gd name="connsiteX3" fmla="*/ 832466 w 1816431"/>
              <a:gd name="connsiteY3" fmla="*/ 1778252 h 1816473"/>
              <a:gd name="connsiteX4" fmla="*/ 795893 w 1816431"/>
              <a:gd name="connsiteY4" fmla="*/ 1785847 h 1816473"/>
              <a:gd name="connsiteX5" fmla="*/ 707780 w 1816431"/>
              <a:gd name="connsiteY5" fmla="*/ 1718490 h 1816473"/>
              <a:gd name="connsiteX6" fmla="*/ 693190 w 1816431"/>
              <a:gd name="connsiteY6" fmla="*/ 1698386 h 1816473"/>
              <a:gd name="connsiteX7" fmla="*/ 636763 w 1816431"/>
              <a:gd name="connsiteY7" fmla="*/ 1665547 h 1816473"/>
              <a:gd name="connsiteX8" fmla="*/ 617285 w 1816431"/>
              <a:gd name="connsiteY8" fmla="*/ 1620726 h 1816473"/>
              <a:gd name="connsiteX9" fmla="*/ 599838 w 1816431"/>
              <a:gd name="connsiteY9" fmla="*/ 1608443 h 1816473"/>
              <a:gd name="connsiteX10" fmla="*/ 531278 w 1816431"/>
              <a:gd name="connsiteY10" fmla="*/ 1540635 h 1816473"/>
              <a:gd name="connsiteX11" fmla="*/ 519120 w 1816431"/>
              <a:gd name="connsiteY11" fmla="*/ 1522210 h 1816473"/>
              <a:gd name="connsiteX12" fmla="*/ 456075 w 1816431"/>
              <a:gd name="connsiteY12" fmla="*/ 1482879 h 1816473"/>
              <a:gd name="connsiteX13" fmla="*/ 442739 w 1816431"/>
              <a:gd name="connsiteY13" fmla="*/ 1451143 h 1816473"/>
              <a:gd name="connsiteX14" fmla="*/ 438653 w 1816431"/>
              <a:gd name="connsiteY14" fmla="*/ 1433345 h 1816473"/>
              <a:gd name="connsiteX15" fmla="*/ 397592 w 1816431"/>
              <a:gd name="connsiteY15" fmla="*/ 1409480 h 1816473"/>
              <a:gd name="connsiteX16" fmla="*/ 353147 w 1816431"/>
              <a:gd name="connsiteY16" fmla="*/ 1385641 h 1816473"/>
              <a:gd name="connsiteX17" fmla="*/ 347682 w 1816431"/>
              <a:gd name="connsiteY17" fmla="*/ 1394490 h 1816473"/>
              <a:gd name="connsiteX18" fmla="*/ 315570 w 1816431"/>
              <a:gd name="connsiteY18" fmla="*/ 1404317 h 1816473"/>
              <a:gd name="connsiteX19" fmla="*/ 285589 w 1816431"/>
              <a:gd name="connsiteY19" fmla="*/ 1405294 h 1816473"/>
              <a:gd name="connsiteX20" fmla="*/ 143681 w 1816431"/>
              <a:gd name="connsiteY20" fmla="*/ 1357916 h 1816473"/>
              <a:gd name="connsiteX21" fmla="*/ 1773 w 1816431"/>
              <a:gd name="connsiteY21" fmla="*/ 1310538 h 1816473"/>
              <a:gd name="connsiteX22" fmla="*/ 870 w 1816431"/>
              <a:gd name="connsiteY22" fmla="*/ 1006617 h 1816473"/>
              <a:gd name="connsiteX23" fmla="*/ -57 w 1816431"/>
              <a:gd name="connsiteY23" fmla="*/ 702721 h 1816473"/>
              <a:gd name="connsiteX24" fmla="*/ 47045 w 1816431"/>
              <a:gd name="connsiteY24" fmla="*/ 702721 h 1816473"/>
              <a:gd name="connsiteX25" fmla="*/ 94172 w 1816431"/>
              <a:gd name="connsiteY25" fmla="*/ 702721 h 1816473"/>
              <a:gd name="connsiteX26" fmla="*/ 167771 w 1816431"/>
              <a:gd name="connsiteY26" fmla="*/ 745612 h 1816473"/>
              <a:gd name="connsiteX27" fmla="*/ 241370 w 1816431"/>
              <a:gd name="connsiteY27" fmla="*/ 788528 h 1816473"/>
              <a:gd name="connsiteX28" fmla="*/ 282105 w 1816431"/>
              <a:gd name="connsiteY28" fmla="*/ 778576 h 1816473"/>
              <a:gd name="connsiteX29" fmla="*/ 322815 w 1816431"/>
              <a:gd name="connsiteY29" fmla="*/ 762683 h 1816473"/>
              <a:gd name="connsiteX30" fmla="*/ 296795 w 1816431"/>
              <a:gd name="connsiteY30" fmla="*/ 730597 h 1816473"/>
              <a:gd name="connsiteX31" fmla="*/ 239089 w 1816431"/>
              <a:gd name="connsiteY31" fmla="*/ 624663 h 1816473"/>
              <a:gd name="connsiteX32" fmla="*/ 244253 w 1816431"/>
              <a:gd name="connsiteY32" fmla="*/ 464764 h 1816473"/>
              <a:gd name="connsiteX33" fmla="*/ 423036 w 1816431"/>
              <a:gd name="connsiteY33" fmla="*/ 324151 h 1816473"/>
              <a:gd name="connsiteX34" fmla="*/ 447000 w 1816431"/>
              <a:gd name="connsiteY34" fmla="*/ 319612 h 1816473"/>
              <a:gd name="connsiteX35" fmla="*/ 432461 w 1816431"/>
              <a:gd name="connsiteY35" fmla="*/ 282346 h 1816473"/>
              <a:gd name="connsiteX36" fmla="*/ 417922 w 1816431"/>
              <a:gd name="connsiteY36" fmla="*/ 247554 h 1816473"/>
              <a:gd name="connsiteX37" fmla="*/ 495431 w 1816431"/>
              <a:gd name="connsiteY37" fmla="*/ 170105 h 1816473"/>
              <a:gd name="connsiteX38" fmla="*/ 572940 w 1816431"/>
              <a:gd name="connsiteY38" fmla="*/ 92653 h 1816473"/>
              <a:gd name="connsiteX39" fmla="*/ 618388 w 1816431"/>
              <a:gd name="connsiteY39" fmla="*/ 122675 h 1816473"/>
              <a:gd name="connsiteX40" fmla="*/ 663836 w 1816431"/>
              <a:gd name="connsiteY40" fmla="*/ 152693 h 1816473"/>
              <a:gd name="connsiteX41" fmla="*/ 687575 w 1816431"/>
              <a:gd name="connsiteY41" fmla="*/ 140761 h 1816473"/>
              <a:gd name="connsiteX42" fmla="*/ 739666 w 1816431"/>
              <a:gd name="connsiteY42" fmla="*/ 119002 h 1816473"/>
              <a:gd name="connsiteX43" fmla="*/ 772028 w 1816431"/>
              <a:gd name="connsiteY43" fmla="*/ 105280 h 1816473"/>
              <a:gd name="connsiteX44" fmla="*/ 786166 w 1816431"/>
              <a:gd name="connsiteY44" fmla="*/ 50833 h 1816473"/>
              <a:gd name="connsiteX45" fmla="*/ 796344 w 1816431"/>
              <a:gd name="connsiteY45" fmla="*/ 279 h 1816473"/>
              <a:gd name="connsiteX46" fmla="*/ 908196 w 1816431"/>
              <a:gd name="connsiteY46" fmla="*/ 279 h 1816473"/>
              <a:gd name="connsiteX47" fmla="*/ 1020023 w 1816431"/>
              <a:gd name="connsiteY47" fmla="*/ 279 h 1816473"/>
              <a:gd name="connsiteX48" fmla="*/ 1030201 w 1816431"/>
              <a:gd name="connsiteY48" fmla="*/ 50833 h 1816473"/>
              <a:gd name="connsiteX49" fmla="*/ 1044339 w 1816431"/>
              <a:gd name="connsiteY49" fmla="*/ 105280 h 1816473"/>
              <a:gd name="connsiteX50" fmla="*/ 1076701 w 1816431"/>
              <a:gd name="connsiteY50" fmla="*/ 119002 h 1816473"/>
              <a:gd name="connsiteX51" fmla="*/ 1128792 w 1816431"/>
              <a:gd name="connsiteY51" fmla="*/ 140761 h 1816473"/>
              <a:gd name="connsiteX52" fmla="*/ 1152531 w 1816431"/>
              <a:gd name="connsiteY52" fmla="*/ 152693 h 1816473"/>
              <a:gd name="connsiteX53" fmla="*/ 1197979 w 1816431"/>
              <a:gd name="connsiteY53" fmla="*/ 122675 h 1816473"/>
              <a:gd name="connsiteX54" fmla="*/ 1243426 w 1816431"/>
              <a:gd name="connsiteY54" fmla="*/ 92653 h 1816473"/>
              <a:gd name="connsiteX55" fmla="*/ 1320986 w 1816431"/>
              <a:gd name="connsiteY55" fmla="*/ 170158 h 1816473"/>
              <a:gd name="connsiteX56" fmla="*/ 1398546 w 1816431"/>
              <a:gd name="connsiteY56" fmla="*/ 247660 h 1816473"/>
              <a:gd name="connsiteX57" fmla="*/ 1382578 w 1816431"/>
              <a:gd name="connsiteY57" fmla="*/ 285387 h 1816473"/>
              <a:gd name="connsiteX58" fmla="*/ 1366584 w 1816431"/>
              <a:gd name="connsiteY58" fmla="*/ 323113 h 1816473"/>
              <a:gd name="connsiteX59" fmla="*/ 1383054 w 1816431"/>
              <a:gd name="connsiteY59" fmla="*/ 323166 h 1816473"/>
              <a:gd name="connsiteX60" fmla="*/ 1557300 w 1816431"/>
              <a:gd name="connsiteY60" fmla="*/ 437525 h 1816473"/>
              <a:gd name="connsiteX61" fmla="*/ 1582116 w 1816431"/>
              <a:gd name="connsiteY61" fmla="*/ 559033 h 1816473"/>
              <a:gd name="connsiteX62" fmla="*/ 1519573 w 1816431"/>
              <a:gd name="connsiteY62" fmla="*/ 730597 h 1816473"/>
              <a:gd name="connsiteX63" fmla="*/ 1493552 w 1816431"/>
              <a:gd name="connsiteY63" fmla="*/ 762633 h 1816473"/>
              <a:gd name="connsiteX64" fmla="*/ 1556522 w 1816431"/>
              <a:gd name="connsiteY64" fmla="*/ 783966 h 1816473"/>
              <a:gd name="connsiteX65" fmla="*/ 1636213 w 1816431"/>
              <a:gd name="connsiteY65" fmla="*/ 806427 h 1816473"/>
              <a:gd name="connsiteX66" fmla="*/ 1652933 w 1816431"/>
              <a:gd name="connsiteY66" fmla="*/ 813446 h 1816473"/>
              <a:gd name="connsiteX67" fmla="*/ 1700862 w 1816431"/>
              <a:gd name="connsiteY67" fmla="*/ 788227 h 1816473"/>
              <a:gd name="connsiteX68" fmla="*/ 1748767 w 1816431"/>
              <a:gd name="connsiteY68" fmla="*/ 763009 h 1816473"/>
              <a:gd name="connsiteX69" fmla="*/ 1782583 w 1816431"/>
              <a:gd name="connsiteY69" fmla="*/ 763009 h 1816473"/>
              <a:gd name="connsiteX70" fmla="*/ 1816374 w 1816431"/>
              <a:gd name="connsiteY70" fmla="*/ 763009 h 1816473"/>
              <a:gd name="connsiteX71" fmla="*/ 1816374 w 1816431"/>
              <a:gd name="connsiteY71" fmla="*/ 976787 h 1816473"/>
              <a:gd name="connsiteX72" fmla="*/ 1816374 w 1816431"/>
              <a:gd name="connsiteY72" fmla="*/ 1190539 h 1816473"/>
              <a:gd name="connsiteX73" fmla="*/ 1552085 w 1816431"/>
              <a:gd name="connsiteY73" fmla="*/ 1322671 h 1816473"/>
              <a:gd name="connsiteX74" fmla="*/ 1287772 w 1816431"/>
              <a:gd name="connsiteY74" fmla="*/ 1454803 h 1816473"/>
              <a:gd name="connsiteX75" fmla="*/ 1287772 w 1816431"/>
              <a:gd name="connsiteY75" fmla="*/ 1466334 h 1816473"/>
              <a:gd name="connsiteX76" fmla="*/ 1266038 w 1816431"/>
              <a:gd name="connsiteY76" fmla="*/ 1520104 h 1816473"/>
              <a:gd name="connsiteX77" fmla="*/ 1215752 w 1816431"/>
              <a:gd name="connsiteY77" fmla="*/ 1550035 h 1816473"/>
              <a:gd name="connsiteX78" fmla="*/ 1198531 w 1816431"/>
              <a:gd name="connsiteY78" fmla="*/ 1567257 h 1816473"/>
              <a:gd name="connsiteX79" fmla="*/ 1190559 w 1816431"/>
              <a:gd name="connsiteY79" fmla="*/ 1592525 h 1816473"/>
              <a:gd name="connsiteX80" fmla="*/ 1123778 w 1816431"/>
              <a:gd name="connsiteY80" fmla="*/ 1639201 h 1816473"/>
              <a:gd name="connsiteX81" fmla="*/ 1111997 w 1816431"/>
              <a:gd name="connsiteY81" fmla="*/ 1649053 h 1816473"/>
              <a:gd name="connsiteX82" fmla="*/ 1085224 w 1816431"/>
              <a:gd name="connsiteY82" fmla="*/ 1702648 h 1816473"/>
              <a:gd name="connsiteX83" fmla="*/ 1032331 w 1816431"/>
              <a:gd name="connsiteY83" fmla="*/ 1727966 h 1816473"/>
              <a:gd name="connsiteX84" fmla="*/ 1022380 w 1816431"/>
              <a:gd name="connsiteY84" fmla="*/ 1745689 h 1816473"/>
              <a:gd name="connsiteX85" fmla="*/ 903558 w 1816431"/>
              <a:gd name="connsiteY85" fmla="*/ 1811542 h 1816473"/>
              <a:gd name="connsiteX86" fmla="*/ 956978 w 1816431"/>
              <a:gd name="connsiteY86" fmla="*/ 1748170 h 1816473"/>
              <a:gd name="connsiteX87" fmla="*/ 964949 w 1816431"/>
              <a:gd name="connsiteY87" fmla="*/ 1727490 h 1816473"/>
              <a:gd name="connsiteX88" fmla="*/ 948104 w 1816431"/>
              <a:gd name="connsiteY88" fmla="*/ 1697759 h 1816473"/>
              <a:gd name="connsiteX89" fmla="*/ 931259 w 1816431"/>
              <a:gd name="connsiteY89" fmla="*/ 1681491 h 1816473"/>
              <a:gd name="connsiteX90" fmla="*/ 924139 w 1816431"/>
              <a:gd name="connsiteY90" fmla="*/ 1691242 h 1816473"/>
              <a:gd name="connsiteX91" fmla="*/ 902932 w 1816431"/>
              <a:gd name="connsiteY91" fmla="*/ 1716661 h 1816473"/>
              <a:gd name="connsiteX92" fmla="*/ 888819 w 1816431"/>
              <a:gd name="connsiteY92" fmla="*/ 1732303 h 1816473"/>
              <a:gd name="connsiteX93" fmla="*/ 899397 w 1816431"/>
              <a:gd name="connsiteY93" fmla="*/ 1741076 h 1816473"/>
              <a:gd name="connsiteX94" fmla="*/ 956978 w 1816431"/>
              <a:gd name="connsiteY94" fmla="*/ 1748170 h 1816473"/>
              <a:gd name="connsiteX95" fmla="*/ 838783 w 1816431"/>
              <a:gd name="connsiteY95" fmla="*/ 1699414 h 1816473"/>
              <a:gd name="connsiteX96" fmla="*/ 869642 w 1816431"/>
              <a:gd name="connsiteY96" fmla="*/ 1623809 h 1816473"/>
              <a:gd name="connsiteX97" fmla="*/ 793235 w 1816431"/>
              <a:gd name="connsiteY97" fmla="*/ 1649955 h 1816473"/>
              <a:gd name="connsiteX98" fmla="*/ 762728 w 1816431"/>
              <a:gd name="connsiteY98" fmla="*/ 1695453 h 1816473"/>
              <a:gd name="connsiteX99" fmla="*/ 795241 w 1816431"/>
              <a:gd name="connsiteY99" fmla="*/ 1727966 h 1816473"/>
              <a:gd name="connsiteX100" fmla="*/ 838783 w 1816431"/>
              <a:gd name="connsiteY100" fmla="*/ 1699414 h 1816473"/>
              <a:gd name="connsiteX101" fmla="*/ 1045667 w 1816431"/>
              <a:gd name="connsiteY101" fmla="*/ 1659681 h 1816473"/>
              <a:gd name="connsiteX102" fmla="*/ 1048701 w 1816431"/>
              <a:gd name="connsiteY102" fmla="*/ 1623158 h 1816473"/>
              <a:gd name="connsiteX103" fmla="*/ 967105 w 1816431"/>
              <a:gd name="connsiteY103" fmla="*/ 1552392 h 1816473"/>
              <a:gd name="connsiteX104" fmla="*/ 890524 w 1816431"/>
              <a:gd name="connsiteY104" fmla="*/ 1486814 h 1816473"/>
              <a:gd name="connsiteX105" fmla="*/ 909249 w 1816431"/>
              <a:gd name="connsiteY105" fmla="*/ 1464153 h 1816473"/>
              <a:gd name="connsiteX106" fmla="*/ 927874 w 1816431"/>
              <a:gd name="connsiteY106" fmla="*/ 1443322 h 1816473"/>
              <a:gd name="connsiteX107" fmla="*/ 1004055 w 1816431"/>
              <a:gd name="connsiteY107" fmla="*/ 1506869 h 1816473"/>
              <a:gd name="connsiteX108" fmla="*/ 1109690 w 1816431"/>
              <a:gd name="connsiteY108" fmla="*/ 1582523 h 1816473"/>
              <a:gd name="connsiteX109" fmla="*/ 1142303 w 1816431"/>
              <a:gd name="connsiteY109" fmla="*/ 1553520 h 1816473"/>
              <a:gd name="connsiteX110" fmla="*/ 1054516 w 1816431"/>
              <a:gd name="connsiteY110" fmla="*/ 1463552 h 1816473"/>
              <a:gd name="connsiteX111" fmla="*/ 979238 w 1816431"/>
              <a:gd name="connsiteY111" fmla="*/ 1398626 h 1816473"/>
              <a:gd name="connsiteX112" fmla="*/ 997863 w 1816431"/>
              <a:gd name="connsiteY112" fmla="*/ 1376015 h 1816473"/>
              <a:gd name="connsiteX113" fmla="*/ 1016388 w 1816431"/>
              <a:gd name="connsiteY113" fmla="*/ 1355736 h 1816473"/>
              <a:gd name="connsiteX114" fmla="*/ 1098962 w 1816431"/>
              <a:gd name="connsiteY114" fmla="*/ 1424797 h 1816473"/>
              <a:gd name="connsiteX115" fmla="*/ 1195447 w 1816431"/>
              <a:gd name="connsiteY115" fmla="*/ 1493833 h 1816473"/>
              <a:gd name="connsiteX116" fmla="*/ 1223297 w 1816431"/>
              <a:gd name="connsiteY116" fmla="*/ 1445227 h 1816473"/>
              <a:gd name="connsiteX117" fmla="*/ 958708 w 1816431"/>
              <a:gd name="connsiteY117" fmla="*/ 1208738 h 1816473"/>
              <a:gd name="connsiteX118" fmla="*/ 927849 w 1816431"/>
              <a:gd name="connsiteY118" fmla="*/ 1203650 h 1816473"/>
              <a:gd name="connsiteX119" fmla="*/ 852245 w 1816431"/>
              <a:gd name="connsiteY119" fmla="*/ 1239672 h 1816473"/>
              <a:gd name="connsiteX120" fmla="*/ 738312 w 1816431"/>
              <a:gd name="connsiteY120" fmla="*/ 1287376 h 1816473"/>
              <a:gd name="connsiteX121" fmla="*/ 654411 w 1816431"/>
              <a:gd name="connsiteY121" fmla="*/ 1232954 h 1816473"/>
              <a:gd name="connsiteX122" fmla="*/ 653759 w 1816431"/>
              <a:gd name="connsiteY122" fmla="*/ 1143562 h 1816473"/>
              <a:gd name="connsiteX123" fmla="*/ 763756 w 1816431"/>
              <a:gd name="connsiteY123" fmla="*/ 1065827 h 1816473"/>
              <a:gd name="connsiteX124" fmla="*/ 843822 w 1816431"/>
              <a:gd name="connsiteY124" fmla="*/ 1023939 h 1816473"/>
              <a:gd name="connsiteX125" fmla="*/ 801759 w 1816431"/>
              <a:gd name="connsiteY125" fmla="*/ 1010879 h 1816473"/>
              <a:gd name="connsiteX126" fmla="*/ 709509 w 1816431"/>
              <a:gd name="connsiteY126" fmla="*/ 999172 h 1816473"/>
              <a:gd name="connsiteX127" fmla="*/ 553764 w 1816431"/>
              <a:gd name="connsiteY127" fmla="*/ 1023062 h 1816473"/>
              <a:gd name="connsiteX128" fmla="*/ 447777 w 1816431"/>
              <a:gd name="connsiteY128" fmla="*/ 1048405 h 1816473"/>
              <a:gd name="connsiteX129" fmla="*/ 369140 w 1816431"/>
              <a:gd name="connsiteY129" fmla="*/ 1321769 h 1816473"/>
              <a:gd name="connsiteX130" fmla="*/ 412783 w 1816431"/>
              <a:gd name="connsiteY130" fmla="*/ 1351098 h 1816473"/>
              <a:gd name="connsiteX131" fmla="*/ 456476 w 1816431"/>
              <a:gd name="connsiteY131" fmla="*/ 1376867 h 1816473"/>
              <a:gd name="connsiteX132" fmla="*/ 491972 w 1816431"/>
              <a:gd name="connsiteY132" fmla="*/ 1341397 h 1816473"/>
              <a:gd name="connsiteX133" fmla="*/ 582366 w 1816431"/>
              <a:gd name="connsiteY133" fmla="*/ 1290910 h 1816473"/>
              <a:gd name="connsiteX134" fmla="*/ 671983 w 1816431"/>
              <a:gd name="connsiteY134" fmla="*/ 1366765 h 1816473"/>
              <a:gd name="connsiteX135" fmla="*/ 692890 w 1816431"/>
              <a:gd name="connsiteY135" fmla="*/ 1381731 h 1816473"/>
              <a:gd name="connsiteX136" fmla="*/ 726129 w 1816431"/>
              <a:gd name="connsiteY136" fmla="*/ 1397624 h 1816473"/>
              <a:gd name="connsiteX137" fmla="*/ 759194 w 1816431"/>
              <a:gd name="connsiteY137" fmla="*/ 1454903 h 1816473"/>
              <a:gd name="connsiteX138" fmla="*/ 776891 w 1816431"/>
              <a:gd name="connsiteY138" fmla="*/ 1468314 h 1816473"/>
              <a:gd name="connsiteX139" fmla="*/ 847883 w 1816431"/>
              <a:gd name="connsiteY139" fmla="*/ 1545498 h 1816473"/>
              <a:gd name="connsiteX140" fmla="*/ 855855 w 1816431"/>
              <a:gd name="connsiteY140" fmla="*/ 1554171 h 1816473"/>
              <a:gd name="connsiteX141" fmla="*/ 922384 w 1816431"/>
              <a:gd name="connsiteY141" fmla="*/ 1596736 h 1816473"/>
              <a:gd name="connsiteX142" fmla="*/ 995106 w 1816431"/>
              <a:gd name="connsiteY142" fmla="*/ 1659456 h 1816473"/>
              <a:gd name="connsiteX143" fmla="*/ 1045667 w 1816431"/>
              <a:gd name="connsiteY143" fmla="*/ 1659681 h 1816473"/>
              <a:gd name="connsiteX144" fmla="*/ 752275 w 1816431"/>
              <a:gd name="connsiteY144" fmla="*/ 1608769 h 1816473"/>
              <a:gd name="connsiteX145" fmla="*/ 787696 w 1816431"/>
              <a:gd name="connsiteY145" fmla="*/ 1568034 h 1816473"/>
              <a:gd name="connsiteX146" fmla="*/ 746183 w 1816431"/>
              <a:gd name="connsiteY146" fmla="*/ 1527650 h 1816473"/>
              <a:gd name="connsiteX147" fmla="*/ 705098 w 1816431"/>
              <a:gd name="connsiteY147" fmla="*/ 1563898 h 1816473"/>
              <a:gd name="connsiteX148" fmla="*/ 678175 w 1816431"/>
              <a:gd name="connsiteY148" fmla="*/ 1622657 h 1816473"/>
              <a:gd name="connsiteX149" fmla="*/ 707329 w 1816431"/>
              <a:gd name="connsiteY149" fmla="*/ 1639176 h 1816473"/>
              <a:gd name="connsiteX150" fmla="*/ 752275 w 1816431"/>
              <a:gd name="connsiteY150" fmla="*/ 1608769 h 1816473"/>
              <a:gd name="connsiteX151" fmla="*/ 667847 w 1816431"/>
              <a:gd name="connsiteY151" fmla="*/ 1515517 h 1816473"/>
              <a:gd name="connsiteX152" fmla="*/ 702415 w 1816431"/>
              <a:gd name="connsiteY152" fmla="*/ 1468264 h 1816473"/>
              <a:gd name="connsiteX153" fmla="*/ 669928 w 1816431"/>
              <a:gd name="connsiteY153" fmla="*/ 1437080 h 1816473"/>
              <a:gd name="connsiteX154" fmla="*/ 625758 w 1816431"/>
              <a:gd name="connsiteY154" fmla="*/ 1466259 h 1816473"/>
              <a:gd name="connsiteX155" fmla="*/ 590137 w 1816431"/>
              <a:gd name="connsiteY155" fmla="*/ 1505540 h 1816473"/>
              <a:gd name="connsiteX156" fmla="*/ 597056 w 1816431"/>
              <a:gd name="connsiteY156" fmla="*/ 1542615 h 1816473"/>
              <a:gd name="connsiteX157" fmla="*/ 667847 w 1816431"/>
              <a:gd name="connsiteY157" fmla="*/ 1515517 h 1816473"/>
              <a:gd name="connsiteX158" fmla="*/ 545617 w 1816431"/>
              <a:gd name="connsiteY158" fmla="*/ 1460468 h 1816473"/>
              <a:gd name="connsiteX159" fmla="*/ 584472 w 1816431"/>
              <a:gd name="connsiteY159" fmla="*/ 1425424 h 1816473"/>
              <a:gd name="connsiteX160" fmla="*/ 613726 w 1816431"/>
              <a:gd name="connsiteY160" fmla="*/ 1381405 h 1816473"/>
              <a:gd name="connsiteX161" fmla="*/ 573818 w 1816431"/>
              <a:gd name="connsiteY161" fmla="*/ 1349644 h 1816473"/>
              <a:gd name="connsiteX162" fmla="*/ 532807 w 1816431"/>
              <a:gd name="connsiteY162" fmla="*/ 1384914 h 1816473"/>
              <a:gd name="connsiteX163" fmla="*/ 499442 w 1816431"/>
              <a:gd name="connsiteY163" fmla="*/ 1429485 h 1816473"/>
              <a:gd name="connsiteX164" fmla="*/ 545617 w 1816431"/>
              <a:gd name="connsiteY164" fmla="*/ 1460468 h 1816473"/>
              <a:gd name="connsiteX165" fmla="*/ 1759621 w 1816431"/>
              <a:gd name="connsiteY165" fmla="*/ 990073 h 1816473"/>
              <a:gd name="connsiteX166" fmla="*/ 1756212 w 1816431"/>
              <a:gd name="connsiteY166" fmla="*/ 826882 h 1816473"/>
              <a:gd name="connsiteX167" fmla="*/ 1478988 w 1816431"/>
              <a:gd name="connsiteY167" fmla="*/ 971021 h 1816473"/>
              <a:gd name="connsiteX168" fmla="*/ 1205174 w 1816431"/>
              <a:gd name="connsiteY168" fmla="*/ 1115186 h 1816473"/>
              <a:gd name="connsiteX169" fmla="*/ 1181735 w 1816431"/>
              <a:gd name="connsiteY169" fmla="*/ 1113080 h 1816473"/>
              <a:gd name="connsiteX170" fmla="*/ 1066048 w 1816431"/>
              <a:gd name="connsiteY170" fmla="*/ 1084578 h 1816473"/>
              <a:gd name="connsiteX171" fmla="*/ 923638 w 1816431"/>
              <a:gd name="connsiteY171" fmla="*/ 1057154 h 1816473"/>
              <a:gd name="connsiteX172" fmla="*/ 710512 w 1816431"/>
              <a:gd name="connsiteY172" fmla="*/ 1162814 h 1816473"/>
              <a:gd name="connsiteX173" fmla="*/ 709159 w 1816431"/>
              <a:gd name="connsiteY173" fmla="*/ 1211095 h 1816473"/>
              <a:gd name="connsiteX174" fmla="*/ 748214 w 1816431"/>
              <a:gd name="connsiteY174" fmla="*/ 1230121 h 1816473"/>
              <a:gd name="connsiteX175" fmla="*/ 820058 w 1816431"/>
              <a:gd name="connsiteY175" fmla="*/ 1190990 h 1816473"/>
              <a:gd name="connsiteX176" fmla="*/ 943366 w 1816431"/>
              <a:gd name="connsiteY176" fmla="*/ 1144013 h 1816473"/>
              <a:gd name="connsiteX177" fmla="*/ 1135134 w 1816431"/>
              <a:gd name="connsiteY177" fmla="*/ 1284117 h 1816473"/>
              <a:gd name="connsiteX178" fmla="*/ 1264509 w 1816431"/>
              <a:gd name="connsiteY178" fmla="*/ 1400832 h 1816473"/>
              <a:gd name="connsiteX179" fmla="*/ 1512052 w 1816431"/>
              <a:gd name="connsiteY179" fmla="*/ 1277048 h 1816473"/>
              <a:gd name="connsiteX180" fmla="*/ 1759621 w 1816431"/>
              <a:gd name="connsiteY180" fmla="*/ 1153238 h 1816473"/>
              <a:gd name="connsiteX181" fmla="*/ 355954 w 1816431"/>
              <a:gd name="connsiteY181" fmla="*/ 1152712 h 1816473"/>
              <a:gd name="connsiteX182" fmla="*/ 409023 w 1816431"/>
              <a:gd name="connsiteY182" fmla="*/ 954502 h 1816473"/>
              <a:gd name="connsiteX183" fmla="*/ 375056 w 1816431"/>
              <a:gd name="connsiteY183" fmla="*/ 933771 h 1816473"/>
              <a:gd name="connsiteX184" fmla="*/ 342342 w 1816431"/>
              <a:gd name="connsiteY184" fmla="*/ 920008 h 1816473"/>
              <a:gd name="connsiteX185" fmla="*/ 241245 w 1816431"/>
              <a:gd name="connsiteY185" fmla="*/ 1326331 h 1816473"/>
              <a:gd name="connsiteX186" fmla="*/ 298148 w 1816431"/>
              <a:gd name="connsiteY186" fmla="*/ 1348065 h 1816473"/>
              <a:gd name="connsiteX187" fmla="*/ 355954 w 1816431"/>
              <a:gd name="connsiteY187" fmla="*/ 1152712 h 1816473"/>
              <a:gd name="connsiteX188" fmla="*/ 187725 w 1816431"/>
              <a:gd name="connsiteY188" fmla="*/ 1296049 h 1816473"/>
              <a:gd name="connsiteX189" fmla="*/ 239440 w 1816431"/>
              <a:gd name="connsiteY189" fmla="*/ 1089391 h 1816473"/>
              <a:gd name="connsiteX190" fmla="*/ 289324 w 1816431"/>
              <a:gd name="connsiteY190" fmla="*/ 890428 h 1816473"/>
              <a:gd name="connsiteX191" fmla="*/ 69355 w 1816431"/>
              <a:gd name="connsiteY191" fmla="*/ 763009 h 1816473"/>
              <a:gd name="connsiteX192" fmla="*/ 56696 w 1816431"/>
              <a:gd name="connsiteY192" fmla="*/ 763009 h 1816473"/>
              <a:gd name="connsiteX193" fmla="*/ 57624 w 1816431"/>
              <a:gd name="connsiteY193" fmla="*/ 1015491 h 1816473"/>
              <a:gd name="connsiteX194" fmla="*/ 58526 w 1816431"/>
              <a:gd name="connsiteY194" fmla="*/ 1267973 h 1816473"/>
              <a:gd name="connsiteX195" fmla="*/ 118839 w 1816431"/>
              <a:gd name="connsiteY195" fmla="*/ 1288378 h 1816473"/>
              <a:gd name="connsiteX196" fmla="*/ 181684 w 1816431"/>
              <a:gd name="connsiteY196" fmla="*/ 1309084 h 1816473"/>
              <a:gd name="connsiteX197" fmla="*/ 187700 w 1816431"/>
              <a:gd name="connsiteY197" fmla="*/ 1296049 h 1816473"/>
              <a:gd name="connsiteX198" fmla="*/ 1201839 w 1816431"/>
              <a:gd name="connsiteY198" fmla="*/ 999373 h 1816473"/>
              <a:gd name="connsiteX199" fmla="*/ 1186598 w 1816431"/>
              <a:gd name="connsiteY199" fmla="*/ 893512 h 1816473"/>
              <a:gd name="connsiteX200" fmla="*/ 1059003 w 1816431"/>
              <a:gd name="connsiteY200" fmla="*/ 837109 h 1816473"/>
              <a:gd name="connsiteX201" fmla="*/ 968509 w 1816431"/>
              <a:gd name="connsiteY201" fmla="*/ 814599 h 1816473"/>
              <a:gd name="connsiteX202" fmla="*/ 968509 w 1816431"/>
              <a:gd name="connsiteY202" fmla="*/ 767897 h 1816473"/>
              <a:gd name="connsiteX203" fmla="*/ 968509 w 1816431"/>
              <a:gd name="connsiteY203" fmla="*/ 721196 h 1816473"/>
              <a:gd name="connsiteX204" fmla="*/ 986056 w 1816431"/>
              <a:gd name="connsiteY204" fmla="*/ 709916 h 1816473"/>
              <a:gd name="connsiteX205" fmla="*/ 1040729 w 1816431"/>
              <a:gd name="connsiteY205" fmla="*/ 646387 h 1816473"/>
              <a:gd name="connsiteX206" fmla="*/ 1053088 w 1816431"/>
              <a:gd name="connsiteY206" fmla="*/ 568311 h 1816473"/>
              <a:gd name="connsiteX207" fmla="*/ 1034964 w 1816431"/>
              <a:gd name="connsiteY207" fmla="*/ 460680 h 1816473"/>
              <a:gd name="connsiteX208" fmla="*/ 926571 w 1816431"/>
              <a:gd name="connsiteY208" fmla="*/ 382441 h 1816473"/>
              <a:gd name="connsiteX209" fmla="*/ 785840 w 1816431"/>
              <a:gd name="connsiteY209" fmla="*/ 448863 h 1816473"/>
              <a:gd name="connsiteX210" fmla="*/ 763330 w 1816431"/>
              <a:gd name="connsiteY210" fmla="*/ 563508 h 1816473"/>
              <a:gd name="connsiteX211" fmla="*/ 775638 w 1816431"/>
              <a:gd name="connsiteY211" fmla="*/ 646387 h 1816473"/>
              <a:gd name="connsiteX212" fmla="*/ 830336 w 1816431"/>
              <a:gd name="connsiteY212" fmla="*/ 709916 h 1816473"/>
              <a:gd name="connsiteX213" fmla="*/ 847883 w 1816431"/>
              <a:gd name="connsiteY213" fmla="*/ 721196 h 1816473"/>
              <a:gd name="connsiteX214" fmla="*/ 847883 w 1816431"/>
              <a:gd name="connsiteY214" fmla="*/ 767897 h 1816473"/>
              <a:gd name="connsiteX215" fmla="*/ 847883 w 1816431"/>
              <a:gd name="connsiteY215" fmla="*/ 814599 h 1816473"/>
              <a:gd name="connsiteX216" fmla="*/ 757389 w 1816431"/>
              <a:gd name="connsiteY216" fmla="*/ 837109 h 1816473"/>
              <a:gd name="connsiteX217" fmla="*/ 629819 w 1816431"/>
              <a:gd name="connsiteY217" fmla="*/ 893462 h 1816473"/>
              <a:gd name="connsiteX218" fmla="*/ 615556 w 1816431"/>
              <a:gd name="connsiteY218" fmla="*/ 947583 h 1816473"/>
              <a:gd name="connsiteX219" fmla="*/ 629569 w 1816431"/>
              <a:gd name="connsiteY219" fmla="*/ 947082 h 1816473"/>
              <a:gd name="connsiteX220" fmla="*/ 750320 w 1816431"/>
              <a:gd name="connsiteY220" fmla="*/ 941015 h 1816473"/>
              <a:gd name="connsiteX221" fmla="*/ 873452 w 1816431"/>
              <a:gd name="connsiteY221" fmla="*/ 972575 h 1816473"/>
              <a:gd name="connsiteX222" fmla="*/ 969236 w 1816431"/>
              <a:gd name="connsiteY222" fmla="*/ 998922 h 1816473"/>
              <a:gd name="connsiteX223" fmla="*/ 1083795 w 1816431"/>
              <a:gd name="connsiteY223" fmla="*/ 1028852 h 1816473"/>
              <a:gd name="connsiteX224" fmla="*/ 1184894 w 1816431"/>
              <a:gd name="connsiteY224" fmla="*/ 1052867 h 1816473"/>
              <a:gd name="connsiteX225" fmla="*/ 1200862 w 1816431"/>
              <a:gd name="connsiteY225" fmla="*/ 1052165 h 1816473"/>
              <a:gd name="connsiteX226" fmla="*/ 1423012 w 1816431"/>
              <a:gd name="connsiteY226" fmla="*/ 934899 h 1816473"/>
              <a:gd name="connsiteX227" fmla="*/ 1578582 w 1816431"/>
              <a:gd name="connsiteY227" fmla="*/ 851599 h 1816473"/>
              <a:gd name="connsiteX228" fmla="*/ 1507741 w 1816431"/>
              <a:gd name="connsiteY228" fmla="*/ 832196 h 1816473"/>
              <a:gd name="connsiteX229" fmla="*/ 1436774 w 1816431"/>
              <a:gd name="connsiteY229" fmla="*/ 814699 h 1816473"/>
              <a:gd name="connsiteX230" fmla="*/ 1436774 w 1816431"/>
              <a:gd name="connsiteY230" fmla="*/ 767872 h 1816473"/>
              <a:gd name="connsiteX231" fmla="*/ 1436774 w 1816431"/>
              <a:gd name="connsiteY231" fmla="*/ 721021 h 1816473"/>
              <a:gd name="connsiteX232" fmla="*/ 1450085 w 1816431"/>
              <a:gd name="connsiteY232" fmla="*/ 712824 h 1816473"/>
              <a:gd name="connsiteX233" fmla="*/ 1516489 w 1816431"/>
              <a:gd name="connsiteY233" fmla="*/ 629040 h 1816473"/>
              <a:gd name="connsiteX234" fmla="*/ 1521352 w 1816431"/>
              <a:gd name="connsiteY234" fmla="*/ 552563 h 1816473"/>
              <a:gd name="connsiteX235" fmla="*/ 1520149 w 1816431"/>
              <a:gd name="connsiteY235" fmla="*/ 494770 h 1816473"/>
              <a:gd name="connsiteX236" fmla="*/ 1506863 w 1816431"/>
              <a:gd name="connsiteY236" fmla="*/ 467920 h 1816473"/>
              <a:gd name="connsiteX237" fmla="*/ 1393482 w 1816431"/>
              <a:gd name="connsiteY237" fmla="*/ 382241 h 1816473"/>
              <a:gd name="connsiteX238" fmla="*/ 1313541 w 1816431"/>
              <a:gd name="connsiteY238" fmla="*/ 395770 h 1816473"/>
              <a:gd name="connsiteX239" fmla="*/ 1244179 w 1816431"/>
              <a:gd name="connsiteY239" fmla="*/ 467596 h 1816473"/>
              <a:gd name="connsiteX240" fmla="*/ 1232798 w 1816431"/>
              <a:gd name="connsiteY240" fmla="*/ 491629 h 1816473"/>
              <a:gd name="connsiteX241" fmla="*/ 1232798 w 1816431"/>
              <a:gd name="connsiteY241" fmla="*/ 557258 h 1816473"/>
              <a:gd name="connsiteX242" fmla="*/ 1232798 w 1816431"/>
              <a:gd name="connsiteY242" fmla="*/ 622891 h 1816473"/>
              <a:gd name="connsiteX243" fmla="*/ 1243878 w 1816431"/>
              <a:gd name="connsiteY243" fmla="*/ 645951 h 1816473"/>
              <a:gd name="connsiteX244" fmla="*/ 1300506 w 1816431"/>
              <a:gd name="connsiteY244" fmla="*/ 710618 h 1816473"/>
              <a:gd name="connsiteX245" fmla="*/ 1319908 w 1816431"/>
              <a:gd name="connsiteY245" fmla="*/ 722224 h 1816473"/>
              <a:gd name="connsiteX246" fmla="*/ 1318931 w 1816431"/>
              <a:gd name="connsiteY246" fmla="*/ 768123 h 1816473"/>
              <a:gd name="connsiteX247" fmla="*/ 1317953 w 1816431"/>
              <a:gd name="connsiteY247" fmla="*/ 814022 h 1816473"/>
              <a:gd name="connsiteX248" fmla="*/ 1270124 w 1816431"/>
              <a:gd name="connsiteY248" fmla="*/ 826004 h 1816473"/>
              <a:gd name="connsiteX249" fmla="*/ 1220966 w 1816431"/>
              <a:gd name="connsiteY249" fmla="*/ 839315 h 1816473"/>
              <a:gd name="connsiteX250" fmla="*/ 1230692 w 1816431"/>
              <a:gd name="connsiteY250" fmla="*/ 856036 h 1816473"/>
              <a:gd name="connsiteX251" fmla="*/ 1258643 w 1816431"/>
              <a:gd name="connsiteY251" fmla="*/ 964529 h 1816473"/>
              <a:gd name="connsiteX252" fmla="*/ 1263882 w 1816431"/>
              <a:gd name="connsiteY252" fmla="*/ 1017547 h 1816473"/>
              <a:gd name="connsiteX253" fmla="*/ 1423012 w 1816431"/>
              <a:gd name="connsiteY253" fmla="*/ 934899 h 1816473"/>
              <a:gd name="connsiteX254" fmla="*/ 518368 w 1816431"/>
              <a:gd name="connsiteY254" fmla="*/ 971848 h 1816473"/>
              <a:gd name="connsiteX255" fmla="*/ 556070 w 1816431"/>
              <a:gd name="connsiteY255" fmla="*/ 963777 h 1816473"/>
              <a:gd name="connsiteX256" fmla="*/ 557925 w 1816431"/>
              <a:gd name="connsiteY256" fmla="*/ 937004 h 1816473"/>
              <a:gd name="connsiteX257" fmla="*/ 585675 w 1816431"/>
              <a:gd name="connsiteY257" fmla="*/ 856036 h 1816473"/>
              <a:gd name="connsiteX258" fmla="*/ 595426 w 1816431"/>
              <a:gd name="connsiteY258" fmla="*/ 839315 h 1816473"/>
              <a:gd name="connsiteX259" fmla="*/ 546269 w 1816431"/>
              <a:gd name="connsiteY259" fmla="*/ 826004 h 1816473"/>
              <a:gd name="connsiteX260" fmla="*/ 498439 w 1816431"/>
              <a:gd name="connsiteY260" fmla="*/ 814022 h 1816473"/>
              <a:gd name="connsiteX261" fmla="*/ 497462 w 1816431"/>
              <a:gd name="connsiteY261" fmla="*/ 768098 h 1816473"/>
              <a:gd name="connsiteX262" fmla="*/ 496459 w 1816431"/>
              <a:gd name="connsiteY262" fmla="*/ 722174 h 1816473"/>
              <a:gd name="connsiteX263" fmla="*/ 509695 w 1816431"/>
              <a:gd name="connsiteY263" fmla="*/ 715105 h 1816473"/>
              <a:gd name="connsiteX264" fmla="*/ 571411 w 1816431"/>
              <a:gd name="connsiteY264" fmla="*/ 647801 h 1816473"/>
              <a:gd name="connsiteX265" fmla="*/ 584823 w 1816431"/>
              <a:gd name="connsiteY265" fmla="*/ 569271 h 1816473"/>
              <a:gd name="connsiteX266" fmla="*/ 542659 w 1816431"/>
              <a:gd name="connsiteY266" fmla="*/ 428325 h 1816473"/>
              <a:gd name="connsiteX267" fmla="*/ 340788 w 1816431"/>
              <a:gd name="connsiteY267" fmla="*/ 420802 h 1816473"/>
              <a:gd name="connsiteX268" fmla="*/ 294488 w 1816431"/>
              <a:gd name="connsiteY268" fmla="*/ 557589 h 1816473"/>
              <a:gd name="connsiteX269" fmla="*/ 301407 w 1816431"/>
              <a:gd name="connsiteY269" fmla="*/ 633116 h 1816473"/>
              <a:gd name="connsiteX270" fmla="*/ 362748 w 1816431"/>
              <a:gd name="connsiteY270" fmla="*/ 710367 h 1816473"/>
              <a:gd name="connsiteX271" fmla="*/ 379593 w 1816431"/>
              <a:gd name="connsiteY271" fmla="*/ 721196 h 1816473"/>
              <a:gd name="connsiteX272" fmla="*/ 379593 w 1816431"/>
              <a:gd name="connsiteY272" fmla="*/ 768073 h 1816473"/>
              <a:gd name="connsiteX273" fmla="*/ 379593 w 1816431"/>
              <a:gd name="connsiteY273" fmla="*/ 814950 h 1816473"/>
              <a:gd name="connsiteX274" fmla="*/ 352094 w 1816431"/>
              <a:gd name="connsiteY274" fmla="*/ 821342 h 1816473"/>
              <a:gd name="connsiteX275" fmla="*/ 320383 w 1816431"/>
              <a:gd name="connsiteY275" fmla="*/ 829990 h 1816473"/>
              <a:gd name="connsiteX276" fmla="*/ 392428 w 1816431"/>
              <a:gd name="connsiteY276" fmla="*/ 876566 h 1816473"/>
              <a:gd name="connsiteX277" fmla="*/ 468684 w 1816431"/>
              <a:gd name="connsiteY277" fmla="*/ 920886 h 1816473"/>
              <a:gd name="connsiteX278" fmla="*/ 467581 w 1816431"/>
              <a:gd name="connsiteY278" fmla="*/ 952095 h 1816473"/>
              <a:gd name="connsiteX279" fmla="*/ 473597 w 1816431"/>
              <a:gd name="connsiteY279" fmla="*/ 981625 h 1816473"/>
              <a:gd name="connsiteX280" fmla="*/ 518368 w 1816431"/>
              <a:gd name="connsiteY280" fmla="*/ 971848 h 1816473"/>
              <a:gd name="connsiteX281" fmla="*/ 735229 w 1816431"/>
              <a:gd name="connsiteY281" fmla="*/ 782286 h 1816473"/>
              <a:gd name="connsiteX282" fmla="*/ 791105 w 1816431"/>
              <a:gd name="connsiteY282" fmla="*/ 762132 h 1816473"/>
              <a:gd name="connsiteX283" fmla="*/ 768945 w 1816431"/>
              <a:gd name="connsiteY283" fmla="*/ 734934 h 1816473"/>
              <a:gd name="connsiteX284" fmla="*/ 712643 w 1816431"/>
              <a:gd name="connsiteY284" fmla="*/ 645951 h 1816473"/>
              <a:gd name="connsiteX285" fmla="*/ 707329 w 1816431"/>
              <a:gd name="connsiteY285" fmla="*/ 489854 h 1816473"/>
              <a:gd name="connsiteX286" fmla="*/ 844073 w 1816431"/>
              <a:gd name="connsiteY286" fmla="*/ 333371 h 1816473"/>
              <a:gd name="connsiteX287" fmla="*/ 1074320 w 1816431"/>
              <a:gd name="connsiteY287" fmla="*/ 413357 h 1816473"/>
              <a:gd name="connsiteX288" fmla="*/ 1112899 w 1816431"/>
              <a:gd name="connsiteY288" fmla="*/ 577894 h 1816473"/>
              <a:gd name="connsiteX289" fmla="*/ 1050982 w 1816431"/>
              <a:gd name="connsiteY289" fmla="*/ 730722 h 1816473"/>
              <a:gd name="connsiteX290" fmla="*/ 1025262 w 1816431"/>
              <a:gd name="connsiteY290" fmla="*/ 762733 h 1816473"/>
              <a:gd name="connsiteX291" fmla="*/ 1083795 w 1816431"/>
              <a:gd name="connsiteY291" fmla="*/ 783038 h 1816473"/>
              <a:gd name="connsiteX292" fmla="*/ 1142329 w 1816431"/>
              <a:gd name="connsiteY292" fmla="*/ 797578 h 1816473"/>
              <a:gd name="connsiteX293" fmla="*/ 1200862 w 1816431"/>
              <a:gd name="connsiteY293" fmla="*/ 783038 h 1816473"/>
              <a:gd name="connsiteX294" fmla="*/ 1259395 w 1816431"/>
              <a:gd name="connsiteY294" fmla="*/ 762383 h 1816473"/>
              <a:gd name="connsiteX295" fmla="*/ 1233675 w 1816431"/>
              <a:gd name="connsiteY295" fmla="*/ 730371 h 1816473"/>
              <a:gd name="connsiteX296" fmla="*/ 1172059 w 1816431"/>
              <a:gd name="connsiteY296" fmla="*/ 576771 h 1816473"/>
              <a:gd name="connsiteX297" fmla="*/ 1185370 w 1816431"/>
              <a:gd name="connsiteY297" fmla="*/ 455837 h 1816473"/>
              <a:gd name="connsiteX298" fmla="*/ 1192915 w 1816431"/>
              <a:gd name="connsiteY298" fmla="*/ 434239 h 1816473"/>
              <a:gd name="connsiteX299" fmla="*/ 1176120 w 1816431"/>
              <a:gd name="connsiteY299" fmla="*/ 408752 h 1816473"/>
              <a:gd name="connsiteX300" fmla="*/ 1041356 w 1816431"/>
              <a:gd name="connsiteY300" fmla="*/ 294398 h 1816473"/>
              <a:gd name="connsiteX301" fmla="*/ 877137 w 1816431"/>
              <a:gd name="connsiteY301" fmla="*/ 266488 h 1816473"/>
              <a:gd name="connsiteX302" fmla="*/ 770900 w 1816431"/>
              <a:gd name="connsiteY302" fmla="*/ 296386 h 1816473"/>
              <a:gd name="connsiteX303" fmla="*/ 632627 w 1816431"/>
              <a:gd name="connsiteY303" fmla="*/ 420725 h 1816473"/>
              <a:gd name="connsiteX304" fmla="*/ 621923 w 1816431"/>
              <a:gd name="connsiteY304" fmla="*/ 438513 h 1816473"/>
              <a:gd name="connsiteX305" fmla="*/ 630070 w 1816431"/>
              <a:gd name="connsiteY305" fmla="*/ 460286 h 1816473"/>
              <a:gd name="connsiteX306" fmla="*/ 644308 w 1816431"/>
              <a:gd name="connsiteY306" fmla="*/ 582093 h 1816473"/>
              <a:gd name="connsiteX307" fmla="*/ 582692 w 1816431"/>
              <a:gd name="connsiteY307" fmla="*/ 730371 h 1816473"/>
              <a:gd name="connsiteX308" fmla="*/ 556973 w 1816431"/>
              <a:gd name="connsiteY308" fmla="*/ 762408 h 1816473"/>
              <a:gd name="connsiteX309" fmla="*/ 614628 w 1816431"/>
              <a:gd name="connsiteY309" fmla="*/ 783164 h 1816473"/>
              <a:gd name="connsiteX310" fmla="*/ 675818 w 1816431"/>
              <a:gd name="connsiteY310" fmla="*/ 796901 h 1816473"/>
              <a:gd name="connsiteX311" fmla="*/ 735229 w 1816431"/>
              <a:gd name="connsiteY311" fmla="*/ 782286 h 1816473"/>
              <a:gd name="connsiteX312" fmla="*/ 599537 w 1816431"/>
              <a:gd name="connsiteY312" fmla="*/ 364916 h 1816473"/>
              <a:gd name="connsiteX313" fmla="*/ 640347 w 1816431"/>
              <a:gd name="connsiteY313" fmla="*/ 317907 h 1816473"/>
              <a:gd name="connsiteX314" fmla="*/ 835450 w 1816431"/>
              <a:gd name="connsiteY314" fmla="*/ 212610 h 1816473"/>
              <a:gd name="connsiteX315" fmla="*/ 980893 w 1816431"/>
              <a:gd name="connsiteY315" fmla="*/ 212818 h 1816473"/>
              <a:gd name="connsiteX316" fmla="*/ 1213270 w 1816431"/>
              <a:gd name="connsiteY316" fmla="*/ 360364 h 1816473"/>
              <a:gd name="connsiteX317" fmla="*/ 1229614 w 1816431"/>
              <a:gd name="connsiteY317" fmla="*/ 382923 h 1816473"/>
              <a:gd name="connsiteX318" fmla="*/ 1247663 w 1816431"/>
              <a:gd name="connsiteY318" fmla="*/ 370131 h 1816473"/>
              <a:gd name="connsiteX319" fmla="*/ 1280552 w 1816431"/>
              <a:gd name="connsiteY319" fmla="*/ 347572 h 1816473"/>
              <a:gd name="connsiteX320" fmla="*/ 1311460 w 1816431"/>
              <a:gd name="connsiteY320" fmla="*/ 303603 h 1816473"/>
              <a:gd name="connsiteX321" fmla="*/ 1326651 w 1816431"/>
              <a:gd name="connsiteY321" fmla="*/ 262753 h 1816473"/>
              <a:gd name="connsiteX322" fmla="*/ 1281555 w 1816431"/>
              <a:gd name="connsiteY322" fmla="*/ 212237 h 1816473"/>
              <a:gd name="connsiteX323" fmla="*/ 1236307 w 1816431"/>
              <a:gd name="connsiteY323" fmla="*/ 167092 h 1816473"/>
              <a:gd name="connsiteX324" fmla="*/ 1215050 w 1816431"/>
              <a:gd name="connsiteY324" fmla="*/ 181378 h 1816473"/>
              <a:gd name="connsiteX325" fmla="*/ 1173688 w 1816431"/>
              <a:gd name="connsiteY325" fmla="*/ 208013 h 1816473"/>
              <a:gd name="connsiteX326" fmla="*/ 1153609 w 1816431"/>
              <a:gd name="connsiteY326" fmla="*/ 220361 h 1816473"/>
              <a:gd name="connsiteX327" fmla="*/ 1116108 w 1816431"/>
              <a:gd name="connsiteY327" fmla="*/ 200520 h 1816473"/>
              <a:gd name="connsiteX328" fmla="*/ 1006161 w 1816431"/>
              <a:gd name="connsiteY328" fmla="*/ 157992 h 1816473"/>
              <a:gd name="connsiteX329" fmla="*/ 991546 w 1816431"/>
              <a:gd name="connsiteY329" fmla="*/ 147993 h 1816473"/>
              <a:gd name="connsiteX330" fmla="*/ 982698 w 1816431"/>
              <a:gd name="connsiteY330" fmla="*/ 106709 h 1816473"/>
              <a:gd name="connsiteX331" fmla="*/ 973723 w 1816431"/>
              <a:gd name="connsiteY331" fmla="*/ 65024 h 1816473"/>
              <a:gd name="connsiteX332" fmla="*/ 908196 w 1816431"/>
              <a:gd name="connsiteY332" fmla="*/ 57042 h 1816473"/>
              <a:gd name="connsiteX333" fmla="*/ 842619 w 1816431"/>
              <a:gd name="connsiteY333" fmla="*/ 65024 h 1816473"/>
              <a:gd name="connsiteX334" fmla="*/ 832216 w 1816431"/>
              <a:gd name="connsiteY334" fmla="*/ 113202 h 1816473"/>
              <a:gd name="connsiteX335" fmla="*/ 822464 w 1816431"/>
              <a:gd name="connsiteY335" fmla="*/ 154147 h 1816473"/>
              <a:gd name="connsiteX336" fmla="*/ 782256 w 1816431"/>
              <a:gd name="connsiteY336" fmla="*/ 166530 h 1816473"/>
              <a:gd name="connsiteX337" fmla="*/ 702917 w 1816431"/>
              <a:gd name="connsiteY337" fmla="*/ 199249 h 1816473"/>
              <a:gd name="connsiteX338" fmla="*/ 662633 w 1816431"/>
              <a:gd name="connsiteY338" fmla="*/ 220333 h 1816473"/>
              <a:gd name="connsiteX339" fmla="*/ 649698 w 1816431"/>
              <a:gd name="connsiteY339" fmla="*/ 212520 h 1816473"/>
              <a:gd name="connsiteX340" fmla="*/ 611244 w 1816431"/>
              <a:gd name="connsiteY340" fmla="*/ 187638 h 1816473"/>
              <a:gd name="connsiteX341" fmla="*/ 581037 w 1816431"/>
              <a:gd name="connsiteY341" fmla="*/ 170566 h 1816473"/>
              <a:gd name="connsiteX342" fmla="*/ 531453 w 1816431"/>
              <a:gd name="connsiteY342" fmla="*/ 215799 h 1816473"/>
              <a:gd name="connsiteX343" fmla="*/ 486532 w 1816431"/>
              <a:gd name="connsiteY343" fmla="*/ 261031 h 1816473"/>
              <a:gd name="connsiteX344" fmla="*/ 503027 w 1816431"/>
              <a:gd name="connsiteY344" fmla="*/ 300472 h 1816473"/>
              <a:gd name="connsiteX345" fmla="*/ 534061 w 1816431"/>
              <a:gd name="connsiteY345" fmla="*/ 347637 h 1816473"/>
              <a:gd name="connsiteX346" fmla="*/ 565596 w 1816431"/>
              <a:gd name="connsiteY346" fmla="*/ 369394 h 1816473"/>
              <a:gd name="connsiteX347" fmla="*/ 584848 w 1816431"/>
              <a:gd name="connsiteY347" fmla="*/ 383419 h 1816473"/>
              <a:gd name="connsiteX348" fmla="*/ 599537 w 1816431"/>
              <a:gd name="connsiteY348" fmla="*/ 364916 h 181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</a:cxnLst>
            <a:rect l="l" t="t" r="r" b="b"/>
            <a:pathLst>
              <a:path w="1816431" h="1816473">
                <a:moveTo>
                  <a:pt x="903558" y="1811542"/>
                </a:moveTo>
                <a:cubicBezTo>
                  <a:pt x="888092" y="1806027"/>
                  <a:pt x="866659" y="1791864"/>
                  <a:pt x="854978" y="1779430"/>
                </a:cubicBezTo>
                <a:lnTo>
                  <a:pt x="846956" y="1770882"/>
                </a:lnTo>
                <a:lnTo>
                  <a:pt x="832466" y="1778252"/>
                </a:lnTo>
                <a:cubicBezTo>
                  <a:pt x="822615" y="1783290"/>
                  <a:pt x="810958" y="1785697"/>
                  <a:pt x="795893" y="1785847"/>
                </a:cubicBezTo>
                <a:cubicBezTo>
                  <a:pt x="753528" y="1786249"/>
                  <a:pt x="718058" y="1759150"/>
                  <a:pt x="707780" y="1718490"/>
                </a:cubicBezTo>
                <a:cubicBezTo>
                  <a:pt x="704195" y="1704302"/>
                  <a:pt x="701688" y="1700868"/>
                  <a:pt x="693190" y="1698386"/>
                </a:cubicBezTo>
                <a:cubicBezTo>
                  <a:pt x="671256" y="1692019"/>
                  <a:pt x="645562" y="1677053"/>
                  <a:pt x="636763" y="1665547"/>
                </a:cubicBezTo>
                <a:cubicBezTo>
                  <a:pt x="625608" y="1650908"/>
                  <a:pt x="617285" y="1631756"/>
                  <a:pt x="617285" y="1620726"/>
                </a:cubicBezTo>
                <a:cubicBezTo>
                  <a:pt x="617285" y="1613908"/>
                  <a:pt x="614453" y="1611903"/>
                  <a:pt x="599838" y="1608443"/>
                </a:cubicBezTo>
                <a:cubicBezTo>
                  <a:pt x="564643" y="1600071"/>
                  <a:pt x="539500" y="1575203"/>
                  <a:pt x="531278" y="1540635"/>
                </a:cubicBezTo>
                <a:cubicBezTo>
                  <a:pt x="527668" y="1525344"/>
                  <a:pt x="525588" y="1522210"/>
                  <a:pt x="519120" y="1522210"/>
                </a:cubicBezTo>
                <a:cubicBezTo>
                  <a:pt x="499492" y="1522210"/>
                  <a:pt x="469887" y="1503735"/>
                  <a:pt x="456075" y="1482879"/>
                </a:cubicBezTo>
                <a:cubicBezTo>
                  <a:pt x="451011" y="1475208"/>
                  <a:pt x="445020" y="1460945"/>
                  <a:pt x="442739" y="1451143"/>
                </a:cubicBezTo>
                <a:lnTo>
                  <a:pt x="438653" y="1433345"/>
                </a:lnTo>
                <a:lnTo>
                  <a:pt x="397592" y="1409480"/>
                </a:lnTo>
                <a:cubicBezTo>
                  <a:pt x="375006" y="1396370"/>
                  <a:pt x="355002" y="1385641"/>
                  <a:pt x="353147" y="1385641"/>
                </a:cubicBezTo>
                <a:cubicBezTo>
                  <a:pt x="351292" y="1385641"/>
                  <a:pt x="348810" y="1389627"/>
                  <a:pt x="347682" y="1394490"/>
                </a:cubicBezTo>
                <a:cubicBezTo>
                  <a:pt x="345677" y="1402988"/>
                  <a:pt x="344323" y="1403414"/>
                  <a:pt x="315570" y="1404317"/>
                </a:cubicBezTo>
                <a:lnTo>
                  <a:pt x="285589" y="1405294"/>
                </a:lnTo>
                <a:lnTo>
                  <a:pt x="143681" y="1357916"/>
                </a:lnTo>
                <a:lnTo>
                  <a:pt x="1773" y="1310538"/>
                </a:lnTo>
                <a:lnTo>
                  <a:pt x="870" y="1006617"/>
                </a:lnTo>
                <a:lnTo>
                  <a:pt x="-57" y="702721"/>
                </a:lnTo>
                <a:lnTo>
                  <a:pt x="47045" y="702721"/>
                </a:lnTo>
                <a:lnTo>
                  <a:pt x="94172" y="702721"/>
                </a:lnTo>
                <a:lnTo>
                  <a:pt x="167771" y="745612"/>
                </a:lnTo>
                <a:lnTo>
                  <a:pt x="241370" y="788528"/>
                </a:lnTo>
                <a:lnTo>
                  <a:pt x="282105" y="778576"/>
                </a:lnTo>
                <a:cubicBezTo>
                  <a:pt x="313941" y="770830"/>
                  <a:pt x="322815" y="767346"/>
                  <a:pt x="322815" y="762683"/>
                </a:cubicBezTo>
                <a:cubicBezTo>
                  <a:pt x="322815" y="759400"/>
                  <a:pt x="311108" y="744960"/>
                  <a:pt x="296795" y="730597"/>
                </a:cubicBezTo>
                <a:cubicBezTo>
                  <a:pt x="266337" y="700039"/>
                  <a:pt x="247762" y="665947"/>
                  <a:pt x="239089" y="624663"/>
                </a:cubicBezTo>
                <a:cubicBezTo>
                  <a:pt x="230967" y="585989"/>
                  <a:pt x="233824" y="497033"/>
                  <a:pt x="244253" y="464764"/>
                </a:cubicBezTo>
                <a:cubicBezTo>
                  <a:pt x="269120" y="387648"/>
                  <a:pt x="340864" y="331243"/>
                  <a:pt x="423036" y="324151"/>
                </a:cubicBezTo>
                <a:cubicBezTo>
                  <a:pt x="436221" y="323016"/>
                  <a:pt x="447000" y="320973"/>
                  <a:pt x="447000" y="319612"/>
                </a:cubicBezTo>
                <a:cubicBezTo>
                  <a:pt x="447000" y="318253"/>
                  <a:pt x="440458" y="301483"/>
                  <a:pt x="432461" y="282346"/>
                </a:cubicBezTo>
                <a:lnTo>
                  <a:pt x="417922" y="247554"/>
                </a:lnTo>
                <a:lnTo>
                  <a:pt x="495431" y="170105"/>
                </a:lnTo>
                <a:lnTo>
                  <a:pt x="572940" y="92653"/>
                </a:lnTo>
                <a:lnTo>
                  <a:pt x="618388" y="122675"/>
                </a:lnTo>
                <a:lnTo>
                  <a:pt x="663836" y="152693"/>
                </a:lnTo>
                <a:lnTo>
                  <a:pt x="687575" y="140761"/>
                </a:lnTo>
                <a:cubicBezTo>
                  <a:pt x="700610" y="134198"/>
                  <a:pt x="724074" y="124407"/>
                  <a:pt x="739666" y="119002"/>
                </a:cubicBezTo>
                <a:cubicBezTo>
                  <a:pt x="755283" y="113598"/>
                  <a:pt x="769847" y="107421"/>
                  <a:pt x="772028" y="105280"/>
                </a:cubicBezTo>
                <a:cubicBezTo>
                  <a:pt x="774209" y="103139"/>
                  <a:pt x="780576" y="78638"/>
                  <a:pt x="786166" y="50833"/>
                </a:cubicBezTo>
                <a:lnTo>
                  <a:pt x="796344" y="279"/>
                </a:lnTo>
                <a:lnTo>
                  <a:pt x="908196" y="279"/>
                </a:lnTo>
                <a:lnTo>
                  <a:pt x="1020023" y="279"/>
                </a:lnTo>
                <a:lnTo>
                  <a:pt x="1030201" y="50833"/>
                </a:lnTo>
                <a:cubicBezTo>
                  <a:pt x="1035816" y="78638"/>
                  <a:pt x="1042158" y="103139"/>
                  <a:pt x="1044339" y="105280"/>
                </a:cubicBezTo>
                <a:cubicBezTo>
                  <a:pt x="1046520" y="107421"/>
                  <a:pt x="1061084" y="113598"/>
                  <a:pt x="1076701" y="119002"/>
                </a:cubicBezTo>
                <a:cubicBezTo>
                  <a:pt x="1092318" y="124407"/>
                  <a:pt x="1115757" y="134198"/>
                  <a:pt x="1128792" y="140761"/>
                </a:cubicBezTo>
                <a:lnTo>
                  <a:pt x="1152531" y="152693"/>
                </a:lnTo>
                <a:lnTo>
                  <a:pt x="1197979" y="122675"/>
                </a:lnTo>
                <a:lnTo>
                  <a:pt x="1243426" y="92653"/>
                </a:lnTo>
                <a:lnTo>
                  <a:pt x="1320986" y="170158"/>
                </a:lnTo>
                <a:lnTo>
                  <a:pt x="1398546" y="247660"/>
                </a:lnTo>
                <a:lnTo>
                  <a:pt x="1382578" y="285387"/>
                </a:lnTo>
                <a:lnTo>
                  <a:pt x="1366584" y="323113"/>
                </a:lnTo>
                <a:lnTo>
                  <a:pt x="1383054" y="323166"/>
                </a:lnTo>
                <a:cubicBezTo>
                  <a:pt x="1451790" y="323384"/>
                  <a:pt x="1524586" y="371171"/>
                  <a:pt x="1557300" y="437525"/>
                </a:cubicBezTo>
                <a:cubicBezTo>
                  <a:pt x="1575799" y="475092"/>
                  <a:pt x="1582116" y="505942"/>
                  <a:pt x="1582116" y="559033"/>
                </a:cubicBezTo>
                <a:cubicBezTo>
                  <a:pt x="1582116" y="637981"/>
                  <a:pt x="1564945" y="685074"/>
                  <a:pt x="1519573" y="730597"/>
                </a:cubicBezTo>
                <a:cubicBezTo>
                  <a:pt x="1505259" y="744960"/>
                  <a:pt x="1493552" y="759375"/>
                  <a:pt x="1493552" y="762633"/>
                </a:cubicBezTo>
                <a:cubicBezTo>
                  <a:pt x="1493552" y="767346"/>
                  <a:pt x="1506287" y="771658"/>
                  <a:pt x="1556522" y="783966"/>
                </a:cubicBezTo>
                <a:cubicBezTo>
                  <a:pt x="1591141" y="792464"/>
                  <a:pt x="1627013" y="802566"/>
                  <a:pt x="1636213" y="806427"/>
                </a:cubicBezTo>
                <a:lnTo>
                  <a:pt x="1652933" y="813446"/>
                </a:lnTo>
                <a:lnTo>
                  <a:pt x="1700862" y="788227"/>
                </a:lnTo>
                <a:lnTo>
                  <a:pt x="1748767" y="763009"/>
                </a:lnTo>
                <a:lnTo>
                  <a:pt x="1782583" y="763009"/>
                </a:lnTo>
                <a:lnTo>
                  <a:pt x="1816374" y="763009"/>
                </a:lnTo>
                <a:lnTo>
                  <a:pt x="1816374" y="976787"/>
                </a:lnTo>
                <a:lnTo>
                  <a:pt x="1816374" y="1190539"/>
                </a:lnTo>
                <a:lnTo>
                  <a:pt x="1552085" y="1322671"/>
                </a:lnTo>
                <a:lnTo>
                  <a:pt x="1287772" y="1454803"/>
                </a:lnTo>
                <a:lnTo>
                  <a:pt x="1287772" y="1466334"/>
                </a:lnTo>
                <a:cubicBezTo>
                  <a:pt x="1287746" y="1486489"/>
                  <a:pt x="1281028" y="1503083"/>
                  <a:pt x="1266038" y="1520104"/>
                </a:cubicBezTo>
                <a:cubicBezTo>
                  <a:pt x="1249493" y="1538905"/>
                  <a:pt x="1236884" y="1546426"/>
                  <a:pt x="1215752" y="1550035"/>
                </a:cubicBezTo>
                <a:cubicBezTo>
                  <a:pt x="1201839" y="1552392"/>
                  <a:pt x="1200887" y="1553344"/>
                  <a:pt x="1198531" y="1567257"/>
                </a:cubicBezTo>
                <a:cubicBezTo>
                  <a:pt x="1197127" y="1575354"/>
                  <a:pt x="1193542" y="1586735"/>
                  <a:pt x="1190559" y="1592525"/>
                </a:cubicBezTo>
                <a:cubicBezTo>
                  <a:pt x="1178225" y="1616390"/>
                  <a:pt x="1145813" y="1639026"/>
                  <a:pt x="1123778" y="1639201"/>
                </a:cubicBezTo>
                <a:cubicBezTo>
                  <a:pt x="1116108" y="1639251"/>
                  <a:pt x="1113651" y="1641307"/>
                  <a:pt x="1111997" y="1649053"/>
                </a:cubicBezTo>
                <a:cubicBezTo>
                  <a:pt x="1107058" y="1672140"/>
                  <a:pt x="1098385" y="1689487"/>
                  <a:pt x="1085224" y="1702648"/>
                </a:cubicBezTo>
                <a:cubicBezTo>
                  <a:pt x="1072214" y="1715658"/>
                  <a:pt x="1046495" y="1727966"/>
                  <a:pt x="1032331" y="1727966"/>
                </a:cubicBezTo>
                <a:cubicBezTo>
                  <a:pt x="1028220" y="1727966"/>
                  <a:pt x="1025262" y="1733255"/>
                  <a:pt x="1022380" y="1745689"/>
                </a:cubicBezTo>
                <a:cubicBezTo>
                  <a:pt x="1010121" y="1798782"/>
                  <a:pt x="954396" y="1829666"/>
                  <a:pt x="903558" y="1811542"/>
                </a:cubicBezTo>
                <a:close/>
                <a:moveTo>
                  <a:pt x="956978" y="1748170"/>
                </a:moveTo>
                <a:cubicBezTo>
                  <a:pt x="962568" y="1743107"/>
                  <a:pt x="964949" y="1736915"/>
                  <a:pt x="964949" y="1727490"/>
                </a:cubicBezTo>
                <a:cubicBezTo>
                  <a:pt x="964949" y="1716084"/>
                  <a:pt x="962368" y="1711546"/>
                  <a:pt x="948104" y="1697759"/>
                </a:cubicBezTo>
                <a:lnTo>
                  <a:pt x="931259" y="1681491"/>
                </a:lnTo>
                <a:lnTo>
                  <a:pt x="924139" y="1691242"/>
                </a:lnTo>
                <a:cubicBezTo>
                  <a:pt x="920254" y="1696606"/>
                  <a:pt x="910703" y="1708037"/>
                  <a:pt x="902932" y="1716661"/>
                </a:cubicBezTo>
                <a:lnTo>
                  <a:pt x="888819" y="1732303"/>
                </a:lnTo>
                <a:lnTo>
                  <a:pt x="899397" y="1741076"/>
                </a:lnTo>
                <a:cubicBezTo>
                  <a:pt x="922786" y="1760504"/>
                  <a:pt x="940935" y="1762735"/>
                  <a:pt x="956978" y="1748170"/>
                </a:cubicBezTo>
                <a:close/>
                <a:moveTo>
                  <a:pt x="838783" y="1699414"/>
                </a:moveTo>
                <a:cubicBezTo>
                  <a:pt x="879769" y="1660057"/>
                  <a:pt x="886638" y="1643237"/>
                  <a:pt x="869642" y="1623809"/>
                </a:cubicBezTo>
                <a:cubicBezTo>
                  <a:pt x="851217" y="1602778"/>
                  <a:pt x="832592" y="1609145"/>
                  <a:pt x="793235" y="1649955"/>
                </a:cubicBezTo>
                <a:cubicBezTo>
                  <a:pt x="765561" y="1678683"/>
                  <a:pt x="762728" y="1682894"/>
                  <a:pt x="762728" y="1695453"/>
                </a:cubicBezTo>
                <a:cubicBezTo>
                  <a:pt x="762728" y="1714555"/>
                  <a:pt x="776139" y="1727966"/>
                  <a:pt x="795241" y="1727966"/>
                </a:cubicBezTo>
                <a:cubicBezTo>
                  <a:pt x="807650" y="1727966"/>
                  <a:pt x="811986" y="1725133"/>
                  <a:pt x="838783" y="1699414"/>
                </a:cubicBezTo>
                <a:close/>
                <a:moveTo>
                  <a:pt x="1045667" y="1659681"/>
                </a:moveTo>
                <a:cubicBezTo>
                  <a:pt x="1054842" y="1651134"/>
                  <a:pt x="1056271" y="1633962"/>
                  <a:pt x="1048701" y="1623158"/>
                </a:cubicBezTo>
                <a:cubicBezTo>
                  <a:pt x="1045993" y="1619297"/>
                  <a:pt x="1009269" y="1587436"/>
                  <a:pt x="967105" y="1552392"/>
                </a:cubicBezTo>
                <a:cubicBezTo>
                  <a:pt x="924942" y="1517347"/>
                  <a:pt x="890498" y="1487842"/>
                  <a:pt x="890524" y="1486814"/>
                </a:cubicBezTo>
                <a:cubicBezTo>
                  <a:pt x="890574" y="1485812"/>
                  <a:pt x="898996" y="1475609"/>
                  <a:pt x="909249" y="1464153"/>
                </a:cubicBezTo>
                <a:lnTo>
                  <a:pt x="927874" y="1443322"/>
                </a:lnTo>
                <a:lnTo>
                  <a:pt x="1004055" y="1506869"/>
                </a:lnTo>
                <a:cubicBezTo>
                  <a:pt x="1095402" y="1583024"/>
                  <a:pt x="1094700" y="1582523"/>
                  <a:pt x="1109690" y="1582523"/>
                </a:cubicBezTo>
                <a:cubicBezTo>
                  <a:pt x="1123979" y="1582523"/>
                  <a:pt x="1142329" y="1566204"/>
                  <a:pt x="1142303" y="1553520"/>
                </a:cubicBezTo>
                <a:cubicBezTo>
                  <a:pt x="1142279" y="1538629"/>
                  <a:pt x="1130797" y="1526848"/>
                  <a:pt x="1054516" y="1463552"/>
                </a:cubicBezTo>
                <a:cubicBezTo>
                  <a:pt x="1013054" y="1429159"/>
                  <a:pt x="979188" y="1399930"/>
                  <a:pt x="979238" y="1398626"/>
                </a:cubicBezTo>
                <a:cubicBezTo>
                  <a:pt x="979288" y="1397348"/>
                  <a:pt x="987661" y="1387145"/>
                  <a:pt x="997863" y="1376015"/>
                </a:cubicBezTo>
                <a:lnTo>
                  <a:pt x="1016388" y="1355736"/>
                </a:lnTo>
                <a:lnTo>
                  <a:pt x="1098962" y="1424797"/>
                </a:lnTo>
                <a:cubicBezTo>
                  <a:pt x="1175393" y="1488694"/>
                  <a:pt x="1182562" y="1493833"/>
                  <a:pt x="1195447" y="1493833"/>
                </a:cubicBezTo>
                <a:cubicBezTo>
                  <a:pt x="1223473" y="1493833"/>
                  <a:pt x="1238965" y="1466810"/>
                  <a:pt x="1223297" y="1445227"/>
                </a:cubicBezTo>
                <a:cubicBezTo>
                  <a:pt x="1211566" y="1429034"/>
                  <a:pt x="973949" y="1216685"/>
                  <a:pt x="958708" y="1208738"/>
                </a:cubicBezTo>
                <a:cubicBezTo>
                  <a:pt x="949558" y="1203976"/>
                  <a:pt x="940960" y="1202572"/>
                  <a:pt x="927849" y="1203650"/>
                </a:cubicBezTo>
                <a:cubicBezTo>
                  <a:pt x="912483" y="1204928"/>
                  <a:pt x="900776" y="1210493"/>
                  <a:pt x="852245" y="1239672"/>
                </a:cubicBezTo>
                <a:cubicBezTo>
                  <a:pt x="775412" y="1285872"/>
                  <a:pt x="767541" y="1289181"/>
                  <a:pt x="738312" y="1287376"/>
                </a:cubicBezTo>
                <a:cubicBezTo>
                  <a:pt x="700711" y="1285095"/>
                  <a:pt x="670554" y="1265542"/>
                  <a:pt x="654411" y="1232954"/>
                </a:cubicBezTo>
                <a:cubicBezTo>
                  <a:pt x="644935" y="1213852"/>
                  <a:pt x="644559" y="1160533"/>
                  <a:pt x="653759" y="1143562"/>
                </a:cubicBezTo>
                <a:cubicBezTo>
                  <a:pt x="668875" y="1115687"/>
                  <a:pt x="680356" y="1107565"/>
                  <a:pt x="763756" y="1065827"/>
                </a:cubicBezTo>
                <a:cubicBezTo>
                  <a:pt x="808502" y="1043442"/>
                  <a:pt x="844524" y="1024591"/>
                  <a:pt x="843822" y="1023939"/>
                </a:cubicBezTo>
                <a:cubicBezTo>
                  <a:pt x="843120" y="1023287"/>
                  <a:pt x="824194" y="1017396"/>
                  <a:pt x="801759" y="1010879"/>
                </a:cubicBezTo>
                <a:cubicBezTo>
                  <a:pt x="763580" y="999749"/>
                  <a:pt x="757639" y="998997"/>
                  <a:pt x="709509" y="999172"/>
                </a:cubicBezTo>
                <a:cubicBezTo>
                  <a:pt x="659123" y="999348"/>
                  <a:pt x="655940" y="999824"/>
                  <a:pt x="553764" y="1023062"/>
                </a:cubicBezTo>
                <a:cubicBezTo>
                  <a:pt x="496384" y="1036097"/>
                  <a:pt x="448705" y="1047503"/>
                  <a:pt x="447777" y="1048405"/>
                </a:cubicBezTo>
                <a:cubicBezTo>
                  <a:pt x="445797" y="1050386"/>
                  <a:pt x="369165" y="1316705"/>
                  <a:pt x="369140" y="1321769"/>
                </a:cubicBezTo>
                <a:cubicBezTo>
                  <a:pt x="369115" y="1323724"/>
                  <a:pt x="388768" y="1336910"/>
                  <a:pt x="412783" y="1351098"/>
                </a:cubicBezTo>
                <a:lnTo>
                  <a:pt x="456476" y="1376867"/>
                </a:lnTo>
                <a:lnTo>
                  <a:pt x="491972" y="1341397"/>
                </a:lnTo>
                <a:cubicBezTo>
                  <a:pt x="532907" y="1300461"/>
                  <a:pt x="550004" y="1290910"/>
                  <a:pt x="582366" y="1290910"/>
                </a:cubicBezTo>
                <a:cubicBezTo>
                  <a:pt x="627162" y="1290910"/>
                  <a:pt x="661881" y="1320290"/>
                  <a:pt x="671983" y="1366765"/>
                </a:cubicBezTo>
                <a:cubicBezTo>
                  <a:pt x="673688" y="1374611"/>
                  <a:pt x="677297" y="1377219"/>
                  <a:pt x="692890" y="1381731"/>
                </a:cubicBezTo>
                <a:cubicBezTo>
                  <a:pt x="703268" y="1384764"/>
                  <a:pt x="718208" y="1391908"/>
                  <a:pt x="726129" y="1397624"/>
                </a:cubicBezTo>
                <a:cubicBezTo>
                  <a:pt x="741721" y="1408929"/>
                  <a:pt x="759194" y="1439186"/>
                  <a:pt x="759194" y="1454903"/>
                </a:cubicBezTo>
                <a:cubicBezTo>
                  <a:pt x="759194" y="1463176"/>
                  <a:pt x="761174" y="1464680"/>
                  <a:pt x="776891" y="1468314"/>
                </a:cubicBezTo>
                <a:cubicBezTo>
                  <a:pt x="814744" y="1477063"/>
                  <a:pt x="847883" y="1513086"/>
                  <a:pt x="847883" y="1545498"/>
                </a:cubicBezTo>
                <a:cubicBezTo>
                  <a:pt x="847883" y="1552091"/>
                  <a:pt x="849788" y="1554146"/>
                  <a:pt x="855855" y="1554171"/>
                </a:cubicBezTo>
                <a:cubicBezTo>
                  <a:pt x="874079" y="1554247"/>
                  <a:pt x="922384" y="1585155"/>
                  <a:pt x="922384" y="1596736"/>
                </a:cubicBezTo>
                <a:cubicBezTo>
                  <a:pt x="922384" y="1599895"/>
                  <a:pt x="976405" y="1646471"/>
                  <a:pt x="995106" y="1659456"/>
                </a:cubicBezTo>
                <a:cubicBezTo>
                  <a:pt x="1014483" y="1672892"/>
                  <a:pt x="1031429" y="1672992"/>
                  <a:pt x="1045667" y="1659681"/>
                </a:cubicBezTo>
                <a:close/>
                <a:moveTo>
                  <a:pt x="752275" y="1608769"/>
                </a:moveTo>
                <a:cubicBezTo>
                  <a:pt x="769421" y="1591974"/>
                  <a:pt x="785364" y="1573649"/>
                  <a:pt x="787696" y="1568034"/>
                </a:cubicBezTo>
                <a:cubicBezTo>
                  <a:pt x="798575" y="1541788"/>
                  <a:pt x="772404" y="1516344"/>
                  <a:pt x="746183" y="1527650"/>
                </a:cubicBezTo>
                <a:cubicBezTo>
                  <a:pt x="740644" y="1530031"/>
                  <a:pt x="722169" y="1546350"/>
                  <a:pt x="705098" y="1563898"/>
                </a:cubicBezTo>
                <a:cubicBezTo>
                  <a:pt x="672685" y="1597188"/>
                  <a:pt x="668950" y="1605360"/>
                  <a:pt x="678175" y="1622657"/>
                </a:cubicBezTo>
                <a:cubicBezTo>
                  <a:pt x="684542" y="1634639"/>
                  <a:pt x="692338" y="1639051"/>
                  <a:pt x="707329" y="1639176"/>
                </a:cubicBezTo>
                <a:cubicBezTo>
                  <a:pt x="719863" y="1639276"/>
                  <a:pt x="723798" y="1636619"/>
                  <a:pt x="752275" y="1608769"/>
                </a:cubicBezTo>
                <a:close/>
                <a:moveTo>
                  <a:pt x="667847" y="1515517"/>
                </a:moveTo>
                <a:cubicBezTo>
                  <a:pt x="698455" y="1484734"/>
                  <a:pt x="702415" y="1479294"/>
                  <a:pt x="702415" y="1468264"/>
                </a:cubicBezTo>
                <a:cubicBezTo>
                  <a:pt x="702415" y="1450567"/>
                  <a:pt x="688352" y="1437080"/>
                  <a:pt x="669928" y="1437080"/>
                </a:cubicBezTo>
                <a:cubicBezTo>
                  <a:pt x="657494" y="1437080"/>
                  <a:pt x="653157" y="1439938"/>
                  <a:pt x="625758" y="1466259"/>
                </a:cubicBezTo>
                <a:cubicBezTo>
                  <a:pt x="609038" y="1482302"/>
                  <a:pt x="592995" y="1499975"/>
                  <a:pt x="590137" y="1505540"/>
                </a:cubicBezTo>
                <a:cubicBezTo>
                  <a:pt x="583695" y="1517999"/>
                  <a:pt x="586502" y="1532989"/>
                  <a:pt x="597056" y="1542615"/>
                </a:cubicBezTo>
                <a:cubicBezTo>
                  <a:pt x="616884" y="1560614"/>
                  <a:pt x="626736" y="1556854"/>
                  <a:pt x="667847" y="1515517"/>
                </a:cubicBezTo>
                <a:close/>
                <a:moveTo>
                  <a:pt x="545617" y="1460468"/>
                </a:moveTo>
                <a:cubicBezTo>
                  <a:pt x="550881" y="1457711"/>
                  <a:pt x="568378" y="1441943"/>
                  <a:pt x="584472" y="1425424"/>
                </a:cubicBezTo>
                <a:cubicBezTo>
                  <a:pt x="611068" y="1398100"/>
                  <a:pt x="613726" y="1394089"/>
                  <a:pt x="613726" y="1381405"/>
                </a:cubicBezTo>
                <a:cubicBezTo>
                  <a:pt x="613726" y="1359395"/>
                  <a:pt x="594775" y="1344305"/>
                  <a:pt x="573818" y="1349644"/>
                </a:cubicBezTo>
                <a:cubicBezTo>
                  <a:pt x="569431" y="1350772"/>
                  <a:pt x="550981" y="1366640"/>
                  <a:pt x="532807" y="1384914"/>
                </a:cubicBezTo>
                <a:cubicBezTo>
                  <a:pt x="505483" y="1412389"/>
                  <a:pt x="499718" y="1420084"/>
                  <a:pt x="499442" y="1429485"/>
                </a:cubicBezTo>
                <a:cubicBezTo>
                  <a:pt x="498665" y="1457235"/>
                  <a:pt x="521903" y="1472827"/>
                  <a:pt x="545617" y="1460468"/>
                </a:cubicBezTo>
                <a:close/>
                <a:moveTo>
                  <a:pt x="1759621" y="990073"/>
                </a:moveTo>
                <a:cubicBezTo>
                  <a:pt x="1759621" y="887796"/>
                  <a:pt x="1758342" y="826882"/>
                  <a:pt x="1756212" y="826882"/>
                </a:cubicBezTo>
                <a:cubicBezTo>
                  <a:pt x="1754332" y="826882"/>
                  <a:pt x="1629570" y="891757"/>
                  <a:pt x="1478988" y="971021"/>
                </a:cubicBezTo>
                <a:lnTo>
                  <a:pt x="1205174" y="1115186"/>
                </a:lnTo>
                <a:lnTo>
                  <a:pt x="1181735" y="1113080"/>
                </a:lnTo>
                <a:cubicBezTo>
                  <a:pt x="1168850" y="1111927"/>
                  <a:pt x="1116785" y="1099117"/>
                  <a:pt x="1066048" y="1084578"/>
                </a:cubicBezTo>
                <a:cubicBezTo>
                  <a:pt x="957855" y="1053594"/>
                  <a:pt x="950936" y="1052266"/>
                  <a:pt x="923638" y="1057154"/>
                </a:cubicBezTo>
                <a:cubicBezTo>
                  <a:pt x="894509" y="1062368"/>
                  <a:pt x="719487" y="1149152"/>
                  <a:pt x="710512" y="1162814"/>
                </a:cubicBezTo>
                <a:cubicBezTo>
                  <a:pt x="702967" y="1174346"/>
                  <a:pt x="702265" y="1198260"/>
                  <a:pt x="709159" y="1211095"/>
                </a:cubicBezTo>
                <a:cubicBezTo>
                  <a:pt x="715375" y="1222726"/>
                  <a:pt x="735705" y="1232628"/>
                  <a:pt x="748214" y="1230121"/>
                </a:cubicBezTo>
                <a:cubicBezTo>
                  <a:pt x="753428" y="1229093"/>
                  <a:pt x="785766" y="1211471"/>
                  <a:pt x="820058" y="1190990"/>
                </a:cubicBezTo>
                <a:cubicBezTo>
                  <a:pt x="889947" y="1149228"/>
                  <a:pt x="912734" y="1140554"/>
                  <a:pt x="943366" y="1144013"/>
                </a:cubicBezTo>
                <a:cubicBezTo>
                  <a:pt x="981795" y="1148375"/>
                  <a:pt x="996660" y="1159255"/>
                  <a:pt x="1135134" y="1284117"/>
                </a:cubicBezTo>
                <a:lnTo>
                  <a:pt x="1264509" y="1400832"/>
                </a:lnTo>
                <a:lnTo>
                  <a:pt x="1512052" y="1277048"/>
                </a:lnTo>
                <a:lnTo>
                  <a:pt x="1759621" y="1153238"/>
                </a:lnTo>
                <a:close/>
                <a:moveTo>
                  <a:pt x="355954" y="1152712"/>
                </a:moveTo>
                <a:cubicBezTo>
                  <a:pt x="386688" y="1045096"/>
                  <a:pt x="410577" y="955905"/>
                  <a:pt x="409023" y="954502"/>
                </a:cubicBezTo>
                <a:cubicBezTo>
                  <a:pt x="407469" y="953123"/>
                  <a:pt x="392177" y="943798"/>
                  <a:pt x="375056" y="933771"/>
                </a:cubicBezTo>
                <a:cubicBezTo>
                  <a:pt x="354074" y="921512"/>
                  <a:pt x="343370" y="917025"/>
                  <a:pt x="342342" y="920008"/>
                </a:cubicBezTo>
                <a:cubicBezTo>
                  <a:pt x="339710" y="927453"/>
                  <a:pt x="241245" y="1323248"/>
                  <a:pt x="241245" y="1326331"/>
                </a:cubicBezTo>
                <a:cubicBezTo>
                  <a:pt x="241245" y="1328537"/>
                  <a:pt x="287971" y="1346385"/>
                  <a:pt x="298148" y="1348065"/>
                </a:cubicBezTo>
                <a:cubicBezTo>
                  <a:pt x="299201" y="1348240"/>
                  <a:pt x="325221" y="1260328"/>
                  <a:pt x="355954" y="1152712"/>
                </a:cubicBezTo>
                <a:close/>
                <a:moveTo>
                  <a:pt x="187725" y="1296049"/>
                </a:moveTo>
                <a:cubicBezTo>
                  <a:pt x="189655" y="1288729"/>
                  <a:pt x="212918" y="1195753"/>
                  <a:pt x="239440" y="1089391"/>
                </a:cubicBezTo>
                <a:cubicBezTo>
                  <a:pt x="265936" y="983054"/>
                  <a:pt x="288397" y="893512"/>
                  <a:pt x="289324" y="890428"/>
                </a:cubicBezTo>
                <a:cubicBezTo>
                  <a:pt x="291906" y="881805"/>
                  <a:pt x="86827" y="763009"/>
                  <a:pt x="69355" y="763009"/>
                </a:cubicBezTo>
                <a:lnTo>
                  <a:pt x="56696" y="763009"/>
                </a:lnTo>
                <a:lnTo>
                  <a:pt x="57624" y="1015491"/>
                </a:lnTo>
                <a:lnTo>
                  <a:pt x="58526" y="1267973"/>
                </a:lnTo>
                <a:lnTo>
                  <a:pt x="118839" y="1288378"/>
                </a:lnTo>
                <a:cubicBezTo>
                  <a:pt x="152004" y="1299609"/>
                  <a:pt x="180280" y="1308934"/>
                  <a:pt x="181684" y="1309084"/>
                </a:cubicBezTo>
                <a:cubicBezTo>
                  <a:pt x="183062" y="1309235"/>
                  <a:pt x="185770" y="1303369"/>
                  <a:pt x="187700" y="1296049"/>
                </a:cubicBezTo>
                <a:close/>
                <a:moveTo>
                  <a:pt x="1201839" y="999373"/>
                </a:moveTo>
                <a:cubicBezTo>
                  <a:pt x="1202992" y="938759"/>
                  <a:pt x="1199207" y="912588"/>
                  <a:pt x="1186598" y="893512"/>
                </a:cubicBezTo>
                <a:cubicBezTo>
                  <a:pt x="1168850" y="866689"/>
                  <a:pt x="1157169" y="861525"/>
                  <a:pt x="1059003" y="837109"/>
                </a:cubicBezTo>
                <a:lnTo>
                  <a:pt x="968509" y="814599"/>
                </a:lnTo>
                <a:lnTo>
                  <a:pt x="968509" y="767897"/>
                </a:lnTo>
                <a:lnTo>
                  <a:pt x="968509" y="721196"/>
                </a:lnTo>
                <a:lnTo>
                  <a:pt x="986056" y="709916"/>
                </a:lnTo>
                <a:cubicBezTo>
                  <a:pt x="1010121" y="694474"/>
                  <a:pt x="1027543" y="674244"/>
                  <a:pt x="1040729" y="646387"/>
                </a:cubicBezTo>
                <a:cubicBezTo>
                  <a:pt x="1051458" y="623736"/>
                  <a:pt x="1051909" y="620928"/>
                  <a:pt x="1053088" y="568311"/>
                </a:cubicBezTo>
                <a:cubicBezTo>
                  <a:pt x="1054416" y="508058"/>
                  <a:pt x="1051934" y="493261"/>
                  <a:pt x="1034964" y="460680"/>
                </a:cubicBezTo>
                <a:cubicBezTo>
                  <a:pt x="1014859" y="422141"/>
                  <a:pt x="967030" y="387603"/>
                  <a:pt x="926571" y="382441"/>
                </a:cubicBezTo>
                <a:cubicBezTo>
                  <a:pt x="873001" y="375605"/>
                  <a:pt x="815019" y="402972"/>
                  <a:pt x="785840" y="448863"/>
                </a:cubicBezTo>
                <a:cubicBezTo>
                  <a:pt x="765009" y="481597"/>
                  <a:pt x="762001" y="496988"/>
                  <a:pt x="763330" y="563508"/>
                </a:cubicBezTo>
                <a:cubicBezTo>
                  <a:pt x="764483" y="621572"/>
                  <a:pt x="764759" y="623412"/>
                  <a:pt x="775638" y="646387"/>
                </a:cubicBezTo>
                <a:cubicBezTo>
                  <a:pt x="788849" y="674244"/>
                  <a:pt x="806271" y="694474"/>
                  <a:pt x="830336" y="709916"/>
                </a:cubicBezTo>
                <a:lnTo>
                  <a:pt x="847883" y="721196"/>
                </a:lnTo>
                <a:lnTo>
                  <a:pt x="847883" y="767897"/>
                </a:lnTo>
                <a:lnTo>
                  <a:pt x="847883" y="814599"/>
                </a:lnTo>
                <a:lnTo>
                  <a:pt x="757389" y="837109"/>
                </a:lnTo>
                <a:cubicBezTo>
                  <a:pt x="659249" y="861525"/>
                  <a:pt x="647517" y="866714"/>
                  <a:pt x="629819" y="893462"/>
                </a:cubicBezTo>
                <a:cubicBezTo>
                  <a:pt x="621246" y="906447"/>
                  <a:pt x="611921" y="941717"/>
                  <a:pt x="615556" y="947583"/>
                </a:cubicBezTo>
                <a:cubicBezTo>
                  <a:pt x="616533" y="949162"/>
                  <a:pt x="622850" y="948936"/>
                  <a:pt x="629569" y="947082"/>
                </a:cubicBezTo>
                <a:cubicBezTo>
                  <a:pt x="650726" y="941241"/>
                  <a:pt x="720665" y="937731"/>
                  <a:pt x="750320" y="941015"/>
                </a:cubicBezTo>
                <a:cubicBezTo>
                  <a:pt x="785515" y="944926"/>
                  <a:pt x="791531" y="946480"/>
                  <a:pt x="873452" y="972575"/>
                </a:cubicBezTo>
                <a:cubicBezTo>
                  <a:pt x="909951" y="984207"/>
                  <a:pt x="953067" y="996064"/>
                  <a:pt x="969236" y="998922"/>
                </a:cubicBezTo>
                <a:cubicBezTo>
                  <a:pt x="985405" y="1001779"/>
                  <a:pt x="1036969" y="1015266"/>
                  <a:pt x="1083795" y="1028852"/>
                </a:cubicBezTo>
                <a:cubicBezTo>
                  <a:pt x="1142053" y="1045773"/>
                  <a:pt x="1173989" y="1053369"/>
                  <a:pt x="1184894" y="1052867"/>
                </a:cubicBezTo>
                <a:lnTo>
                  <a:pt x="1200862" y="1052165"/>
                </a:lnTo>
                <a:close/>
                <a:moveTo>
                  <a:pt x="1423012" y="934899"/>
                </a:moveTo>
                <a:cubicBezTo>
                  <a:pt x="1508518" y="890128"/>
                  <a:pt x="1578507" y="852626"/>
                  <a:pt x="1578582" y="851599"/>
                </a:cubicBezTo>
                <a:cubicBezTo>
                  <a:pt x="1578657" y="850546"/>
                  <a:pt x="1546771" y="841822"/>
                  <a:pt x="1507741" y="832196"/>
                </a:cubicBezTo>
                <a:lnTo>
                  <a:pt x="1436774" y="814699"/>
                </a:lnTo>
                <a:lnTo>
                  <a:pt x="1436774" y="767872"/>
                </a:lnTo>
                <a:lnTo>
                  <a:pt x="1436774" y="721021"/>
                </a:lnTo>
                <a:lnTo>
                  <a:pt x="1450085" y="712824"/>
                </a:lnTo>
                <a:cubicBezTo>
                  <a:pt x="1482171" y="693020"/>
                  <a:pt x="1505209" y="663942"/>
                  <a:pt x="1516489" y="629040"/>
                </a:cubicBezTo>
                <a:cubicBezTo>
                  <a:pt x="1521428" y="613811"/>
                  <a:pt x="1522305" y="599678"/>
                  <a:pt x="1521352" y="552563"/>
                </a:cubicBezTo>
                <a:lnTo>
                  <a:pt x="1520149" y="494770"/>
                </a:lnTo>
                <a:lnTo>
                  <a:pt x="1506863" y="467920"/>
                </a:lnTo>
                <a:cubicBezTo>
                  <a:pt x="1482974" y="419597"/>
                  <a:pt x="1442815" y="389250"/>
                  <a:pt x="1393482" y="382241"/>
                </a:cubicBezTo>
                <a:cubicBezTo>
                  <a:pt x="1373779" y="379443"/>
                  <a:pt x="1334798" y="386046"/>
                  <a:pt x="1313541" y="395770"/>
                </a:cubicBezTo>
                <a:cubicBezTo>
                  <a:pt x="1287521" y="407687"/>
                  <a:pt x="1258167" y="438092"/>
                  <a:pt x="1244179" y="467596"/>
                </a:cubicBezTo>
                <a:lnTo>
                  <a:pt x="1232798" y="491629"/>
                </a:lnTo>
                <a:lnTo>
                  <a:pt x="1232798" y="557258"/>
                </a:lnTo>
                <a:lnTo>
                  <a:pt x="1232798" y="622891"/>
                </a:lnTo>
                <a:lnTo>
                  <a:pt x="1243878" y="645951"/>
                </a:lnTo>
                <a:cubicBezTo>
                  <a:pt x="1258066" y="675423"/>
                  <a:pt x="1276090" y="696003"/>
                  <a:pt x="1300506" y="710618"/>
                </a:cubicBezTo>
                <a:lnTo>
                  <a:pt x="1319908" y="722224"/>
                </a:lnTo>
                <a:lnTo>
                  <a:pt x="1318931" y="768123"/>
                </a:lnTo>
                <a:lnTo>
                  <a:pt x="1317953" y="814022"/>
                </a:lnTo>
                <a:lnTo>
                  <a:pt x="1270124" y="826004"/>
                </a:lnTo>
                <a:cubicBezTo>
                  <a:pt x="1243803" y="832597"/>
                  <a:pt x="1221693" y="838588"/>
                  <a:pt x="1220966" y="839315"/>
                </a:cubicBezTo>
                <a:cubicBezTo>
                  <a:pt x="1220239" y="840042"/>
                  <a:pt x="1224601" y="847563"/>
                  <a:pt x="1230692" y="856036"/>
                </a:cubicBezTo>
                <a:cubicBezTo>
                  <a:pt x="1252150" y="885941"/>
                  <a:pt x="1256963" y="904592"/>
                  <a:pt x="1258643" y="964529"/>
                </a:cubicBezTo>
                <a:cubicBezTo>
                  <a:pt x="1259645" y="999974"/>
                  <a:pt x="1261450" y="1018349"/>
                  <a:pt x="1263882" y="1017547"/>
                </a:cubicBezTo>
                <a:cubicBezTo>
                  <a:pt x="1265912" y="1016870"/>
                  <a:pt x="1337531" y="979695"/>
                  <a:pt x="1423012" y="934899"/>
                </a:cubicBezTo>
                <a:close/>
                <a:moveTo>
                  <a:pt x="518368" y="971848"/>
                </a:moveTo>
                <a:lnTo>
                  <a:pt x="556070" y="963777"/>
                </a:lnTo>
                <a:lnTo>
                  <a:pt x="557925" y="937004"/>
                </a:lnTo>
                <a:cubicBezTo>
                  <a:pt x="560056" y="906397"/>
                  <a:pt x="569682" y="878321"/>
                  <a:pt x="585675" y="856036"/>
                </a:cubicBezTo>
                <a:cubicBezTo>
                  <a:pt x="591767" y="847563"/>
                  <a:pt x="596153" y="840042"/>
                  <a:pt x="595426" y="839315"/>
                </a:cubicBezTo>
                <a:cubicBezTo>
                  <a:pt x="594699" y="838588"/>
                  <a:pt x="572564" y="832597"/>
                  <a:pt x="546269" y="826004"/>
                </a:cubicBezTo>
                <a:lnTo>
                  <a:pt x="498439" y="814022"/>
                </a:lnTo>
                <a:lnTo>
                  <a:pt x="497462" y="768098"/>
                </a:lnTo>
                <a:lnTo>
                  <a:pt x="496459" y="722174"/>
                </a:lnTo>
                <a:lnTo>
                  <a:pt x="509695" y="715105"/>
                </a:lnTo>
                <a:cubicBezTo>
                  <a:pt x="531930" y="703198"/>
                  <a:pt x="558326" y="674420"/>
                  <a:pt x="571411" y="647801"/>
                </a:cubicBezTo>
                <a:cubicBezTo>
                  <a:pt x="583394" y="623432"/>
                  <a:pt x="583594" y="622196"/>
                  <a:pt x="584823" y="569271"/>
                </a:cubicBezTo>
                <a:cubicBezTo>
                  <a:pt x="586577" y="494659"/>
                  <a:pt x="578430" y="467466"/>
                  <a:pt x="542659" y="428325"/>
                </a:cubicBezTo>
                <a:cubicBezTo>
                  <a:pt x="489289" y="369935"/>
                  <a:pt x="398770" y="366561"/>
                  <a:pt x="340788" y="420802"/>
                </a:cubicBezTo>
                <a:cubicBezTo>
                  <a:pt x="303262" y="455900"/>
                  <a:pt x="294538" y="481704"/>
                  <a:pt x="294488" y="557589"/>
                </a:cubicBezTo>
                <a:cubicBezTo>
                  <a:pt x="294463" y="603358"/>
                  <a:pt x="295642" y="616398"/>
                  <a:pt x="301407" y="633116"/>
                </a:cubicBezTo>
                <a:cubicBezTo>
                  <a:pt x="312562" y="665546"/>
                  <a:pt x="332993" y="691291"/>
                  <a:pt x="362748" y="710367"/>
                </a:cubicBezTo>
                <a:lnTo>
                  <a:pt x="379593" y="721196"/>
                </a:lnTo>
                <a:lnTo>
                  <a:pt x="379593" y="768073"/>
                </a:lnTo>
                <a:lnTo>
                  <a:pt x="379593" y="814950"/>
                </a:lnTo>
                <a:lnTo>
                  <a:pt x="352094" y="821342"/>
                </a:lnTo>
                <a:cubicBezTo>
                  <a:pt x="336978" y="824851"/>
                  <a:pt x="322715" y="828737"/>
                  <a:pt x="320383" y="829990"/>
                </a:cubicBezTo>
                <a:cubicBezTo>
                  <a:pt x="318077" y="831219"/>
                  <a:pt x="350490" y="852175"/>
                  <a:pt x="392428" y="876566"/>
                </a:cubicBezTo>
                <a:lnTo>
                  <a:pt x="468684" y="920886"/>
                </a:lnTo>
                <a:lnTo>
                  <a:pt x="467581" y="952095"/>
                </a:lnTo>
                <a:cubicBezTo>
                  <a:pt x="466553" y="981775"/>
                  <a:pt x="466854" y="983229"/>
                  <a:pt x="473597" y="981625"/>
                </a:cubicBezTo>
                <a:cubicBezTo>
                  <a:pt x="477508" y="980697"/>
                  <a:pt x="497662" y="976311"/>
                  <a:pt x="518368" y="971848"/>
                </a:cubicBezTo>
                <a:close/>
                <a:moveTo>
                  <a:pt x="735229" y="782286"/>
                </a:moveTo>
                <a:cubicBezTo>
                  <a:pt x="781830" y="770856"/>
                  <a:pt x="791105" y="767496"/>
                  <a:pt x="791105" y="762132"/>
                </a:cubicBezTo>
                <a:cubicBezTo>
                  <a:pt x="791105" y="758572"/>
                  <a:pt x="781128" y="746339"/>
                  <a:pt x="768945" y="734934"/>
                </a:cubicBezTo>
                <a:cubicBezTo>
                  <a:pt x="743401" y="711044"/>
                  <a:pt x="723146" y="679007"/>
                  <a:pt x="712643" y="645951"/>
                </a:cubicBezTo>
                <a:cubicBezTo>
                  <a:pt x="702340" y="613453"/>
                  <a:pt x="699407" y="527408"/>
                  <a:pt x="707329" y="489854"/>
                </a:cubicBezTo>
                <a:cubicBezTo>
                  <a:pt x="722795" y="416533"/>
                  <a:pt x="776891" y="354631"/>
                  <a:pt x="844073" y="333371"/>
                </a:cubicBezTo>
                <a:cubicBezTo>
                  <a:pt x="931509" y="305706"/>
                  <a:pt x="1023758" y="337750"/>
                  <a:pt x="1074320" y="413357"/>
                </a:cubicBezTo>
                <a:cubicBezTo>
                  <a:pt x="1106557" y="461553"/>
                  <a:pt x="1116383" y="503461"/>
                  <a:pt x="1112899" y="577894"/>
                </a:cubicBezTo>
                <a:cubicBezTo>
                  <a:pt x="1109540" y="649260"/>
                  <a:pt x="1094549" y="686302"/>
                  <a:pt x="1050982" y="730722"/>
                </a:cubicBezTo>
                <a:cubicBezTo>
                  <a:pt x="1036844" y="745136"/>
                  <a:pt x="1025262" y="759550"/>
                  <a:pt x="1025262" y="762733"/>
                </a:cubicBezTo>
                <a:cubicBezTo>
                  <a:pt x="1025262" y="767246"/>
                  <a:pt x="1037972" y="771658"/>
                  <a:pt x="1083795" y="783038"/>
                </a:cubicBezTo>
                <a:lnTo>
                  <a:pt x="1142329" y="797578"/>
                </a:lnTo>
                <a:lnTo>
                  <a:pt x="1200862" y="783038"/>
                </a:lnTo>
                <a:cubicBezTo>
                  <a:pt x="1248315" y="771257"/>
                  <a:pt x="1259395" y="767346"/>
                  <a:pt x="1259395" y="762383"/>
                </a:cubicBezTo>
                <a:cubicBezTo>
                  <a:pt x="1259395" y="759024"/>
                  <a:pt x="1247813" y="744610"/>
                  <a:pt x="1233675" y="730371"/>
                </a:cubicBezTo>
                <a:cubicBezTo>
                  <a:pt x="1191110" y="687530"/>
                  <a:pt x="1175744" y="649232"/>
                  <a:pt x="1172059" y="576771"/>
                </a:cubicBezTo>
                <a:cubicBezTo>
                  <a:pt x="1169602" y="528581"/>
                  <a:pt x="1174039" y="488267"/>
                  <a:pt x="1185370" y="455837"/>
                </a:cubicBezTo>
                <a:lnTo>
                  <a:pt x="1192915" y="434239"/>
                </a:lnTo>
                <a:lnTo>
                  <a:pt x="1176120" y="408752"/>
                </a:lnTo>
                <a:cubicBezTo>
                  <a:pt x="1144259" y="360409"/>
                  <a:pt x="1097457" y="320684"/>
                  <a:pt x="1041356" y="294398"/>
                </a:cubicBezTo>
                <a:cubicBezTo>
                  <a:pt x="989616" y="270148"/>
                  <a:pt x="933389" y="260595"/>
                  <a:pt x="877137" y="266488"/>
                </a:cubicBezTo>
                <a:cubicBezTo>
                  <a:pt x="835023" y="270900"/>
                  <a:pt x="809605" y="278059"/>
                  <a:pt x="770900" y="296386"/>
                </a:cubicBezTo>
                <a:cubicBezTo>
                  <a:pt x="712417" y="324089"/>
                  <a:pt x="665190" y="366568"/>
                  <a:pt x="632627" y="420725"/>
                </a:cubicBezTo>
                <a:lnTo>
                  <a:pt x="621923" y="438513"/>
                </a:lnTo>
                <a:lnTo>
                  <a:pt x="630070" y="460286"/>
                </a:lnTo>
                <a:cubicBezTo>
                  <a:pt x="641576" y="491085"/>
                  <a:pt x="647041" y="537683"/>
                  <a:pt x="644308" y="582093"/>
                </a:cubicBezTo>
                <a:cubicBezTo>
                  <a:pt x="640147" y="650004"/>
                  <a:pt x="624028" y="688784"/>
                  <a:pt x="582692" y="730371"/>
                </a:cubicBezTo>
                <a:cubicBezTo>
                  <a:pt x="568554" y="744610"/>
                  <a:pt x="556973" y="759024"/>
                  <a:pt x="556973" y="762408"/>
                </a:cubicBezTo>
                <a:cubicBezTo>
                  <a:pt x="556973" y="767396"/>
                  <a:pt x="567927" y="771332"/>
                  <a:pt x="614628" y="783164"/>
                </a:cubicBezTo>
                <a:cubicBezTo>
                  <a:pt x="646339" y="791210"/>
                  <a:pt x="673863" y="797377"/>
                  <a:pt x="675818" y="796901"/>
                </a:cubicBezTo>
                <a:cubicBezTo>
                  <a:pt x="677774" y="796399"/>
                  <a:pt x="704521" y="789832"/>
                  <a:pt x="735229" y="782286"/>
                </a:cubicBezTo>
                <a:close/>
                <a:moveTo>
                  <a:pt x="599537" y="364916"/>
                </a:moveTo>
                <a:cubicBezTo>
                  <a:pt x="606381" y="354746"/>
                  <a:pt x="624730" y="333592"/>
                  <a:pt x="640347" y="317907"/>
                </a:cubicBezTo>
                <a:cubicBezTo>
                  <a:pt x="693290" y="264701"/>
                  <a:pt x="760096" y="228656"/>
                  <a:pt x="835450" y="212610"/>
                </a:cubicBezTo>
                <a:cubicBezTo>
                  <a:pt x="864403" y="206451"/>
                  <a:pt x="949909" y="206574"/>
                  <a:pt x="980893" y="212818"/>
                </a:cubicBezTo>
                <a:cubicBezTo>
                  <a:pt x="1071487" y="231072"/>
                  <a:pt x="1161079" y="287961"/>
                  <a:pt x="1213270" y="360364"/>
                </a:cubicBezTo>
                <a:cubicBezTo>
                  <a:pt x="1221693" y="372073"/>
                  <a:pt x="1229038" y="382223"/>
                  <a:pt x="1229614" y="382923"/>
                </a:cubicBezTo>
                <a:cubicBezTo>
                  <a:pt x="1230166" y="383622"/>
                  <a:pt x="1238288" y="377866"/>
                  <a:pt x="1247663" y="370131"/>
                </a:cubicBezTo>
                <a:cubicBezTo>
                  <a:pt x="1257039" y="362395"/>
                  <a:pt x="1271853" y="352245"/>
                  <a:pt x="1280552" y="347572"/>
                </a:cubicBezTo>
                <a:cubicBezTo>
                  <a:pt x="1295191" y="339716"/>
                  <a:pt x="1297523" y="336422"/>
                  <a:pt x="1311460" y="303603"/>
                </a:cubicBezTo>
                <a:cubicBezTo>
                  <a:pt x="1319733" y="284091"/>
                  <a:pt x="1326576" y="265708"/>
                  <a:pt x="1326651" y="262753"/>
                </a:cubicBezTo>
                <a:cubicBezTo>
                  <a:pt x="1326727" y="259800"/>
                  <a:pt x="1306447" y="237066"/>
                  <a:pt x="1281555" y="212237"/>
                </a:cubicBezTo>
                <a:lnTo>
                  <a:pt x="1236307" y="167092"/>
                </a:lnTo>
                <a:lnTo>
                  <a:pt x="1215050" y="181378"/>
                </a:lnTo>
                <a:cubicBezTo>
                  <a:pt x="1203343" y="189234"/>
                  <a:pt x="1184743" y="201219"/>
                  <a:pt x="1173688" y="208013"/>
                </a:cubicBezTo>
                <a:lnTo>
                  <a:pt x="1153609" y="220361"/>
                </a:lnTo>
                <a:lnTo>
                  <a:pt x="1116108" y="200520"/>
                </a:lnTo>
                <a:cubicBezTo>
                  <a:pt x="1079634" y="181213"/>
                  <a:pt x="1032256" y="162891"/>
                  <a:pt x="1006161" y="157992"/>
                </a:cubicBezTo>
                <a:cubicBezTo>
                  <a:pt x="996986" y="156273"/>
                  <a:pt x="992775" y="153385"/>
                  <a:pt x="991546" y="147993"/>
                </a:cubicBezTo>
                <a:cubicBezTo>
                  <a:pt x="990594" y="143824"/>
                  <a:pt x="986608" y="125247"/>
                  <a:pt x="982698" y="106709"/>
                </a:cubicBezTo>
                <a:cubicBezTo>
                  <a:pt x="978762" y="88174"/>
                  <a:pt x="974726" y="69416"/>
                  <a:pt x="973723" y="65024"/>
                </a:cubicBezTo>
                <a:cubicBezTo>
                  <a:pt x="971918" y="57110"/>
                  <a:pt x="971367" y="57042"/>
                  <a:pt x="908196" y="57042"/>
                </a:cubicBezTo>
                <a:cubicBezTo>
                  <a:pt x="845026" y="57042"/>
                  <a:pt x="844449" y="57112"/>
                  <a:pt x="842619" y="65024"/>
                </a:cubicBezTo>
                <a:cubicBezTo>
                  <a:pt x="841591" y="69416"/>
                  <a:pt x="836903" y="91094"/>
                  <a:pt x="832216" y="113202"/>
                </a:cubicBezTo>
                <a:cubicBezTo>
                  <a:pt x="827503" y="135309"/>
                  <a:pt x="823116" y="153733"/>
                  <a:pt x="822464" y="154147"/>
                </a:cubicBezTo>
                <a:cubicBezTo>
                  <a:pt x="821813" y="154561"/>
                  <a:pt x="803714" y="160133"/>
                  <a:pt x="782256" y="166530"/>
                </a:cubicBezTo>
                <a:cubicBezTo>
                  <a:pt x="759419" y="173334"/>
                  <a:pt x="726505" y="186916"/>
                  <a:pt x="702917" y="199249"/>
                </a:cubicBezTo>
                <a:lnTo>
                  <a:pt x="662633" y="220333"/>
                </a:lnTo>
                <a:lnTo>
                  <a:pt x="649698" y="212520"/>
                </a:lnTo>
                <a:cubicBezTo>
                  <a:pt x="642604" y="208223"/>
                  <a:pt x="625282" y="197025"/>
                  <a:pt x="611244" y="187638"/>
                </a:cubicBezTo>
                <a:cubicBezTo>
                  <a:pt x="597181" y="178247"/>
                  <a:pt x="583594" y="170566"/>
                  <a:pt x="581037" y="170566"/>
                </a:cubicBezTo>
                <a:cubicBezTo>
                  <a:pt x="578481" y="170566"/>
                  <a:pt x="556170" y="190921"/>
                  <a:pt x="531453" y="215799"/>
                </a:cubicBezTo>
                <a:lnTo>
                  <a:pt x="486532" y="261031"/>
                </a:lnTo>
                <a:lnTo>
                  <a:pt x="503027" y="300472"/>
                </a:lnTo>
                <a:cubicBezTo>
                  <a:pt x="518168" y="336740"/>
                  <a:pt x="520674" y="340535"/>
                  <a:pt x="534061" y="347637"/>
                </a:cubicBezTo>
                <a:cubicBezTo>
                  <a:pt x="542057" y="351886"/>
                  <a:pt x="556271" y="361675"/>
                  <a:pt x="565596" y="369394"/>
                </a:cubicBezTo>
                <a:cubicBezTo>
                  <a:pt x="574946" y="377109"/>
                  <a:pt x="583594" y="383421"/>
                  <a:pt x="584848" y="383419"/>
                </a:cubicBezTo>
                <a:cubicBezTo>
                  <a:pt x="586101" y="383414"/>
                  <a:pt x="592719" y="375089"/>
                  <a:pt x="599537" y="364916"/>
                </a:cubicBezTo>
                <a:close/>
              </a:path>
            </a:pathLst>
          </a:custGeom>
          <a:solidFill>
            <a:srgbClr val="509AAF"/>
          </a:solidFill>
          <a:ln w="3534" cap="flat">
            <a:noFill/>
            <a:prstDash val="solid"/>
            <a:miter/>
          </a:ln>
        </p:spPr>
        <p:txBody>
          <a:bodyPr vert="horz" rtlCol="0" anchor="t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622A1ABD-50C8-4AB7-917B-A11A9B260533}"/>
              </a:ext>
            </a:extLst>
          </p:cNvPr>
          <p:cNvSpPr/>
          <p:nvPr/>
        </p:nvSpPr>
        <p:spPr>
          <a:xfrm>
            <a:off x="5483263" y="4501477"/>
            <a:ext cx="457200" cy="457200"/>
          </a:xfrm>
          <a:custGeom>
            <a:avLst/>
            <a:gdLst>
              <a:gd name="connsiteX0" fmla="*/ 1119245 w 1734660"/>
              <a:gd name="connsiteY0" fmla="*/ 1599005 h 1655880"/>
              <a:gd name="connsiteX1" fmla="*/ 1119245 w 1734660"/>
              <a:gd name="connsiteY1" fmla="*/ 1541575 h 1655880"/>
              <a:gd name="connsiteX2" fmla="*/ 559608 w 1734660"/>
              <a:gd name="connsiteY2" fmla="*/ 1541575 h 1655880"/>
              <a:gd name="connsiteX3" fmla="*/ -54 w 1734660"/>
              <a:gd name="connsiteY3" fmla="*/ 1541575 h 1655880"/>
              <a:gd name="connsiteX4" fmla="*/ 1124 w 1734660"/>
              <a:gd name="connsiteY4" fmla="*/ 1343063 h 1655880"/>
              <a:gd name="connsiteX5" fmla="*/ 10073 w 1734660"/>
              <a:gd name="connsiteY5" fmla="*/ 1117680 h 1655880"/>
              <a:gd name="connsiteX6" fmla="*/ 146868 w 1734660"/>
              <a:gd name="connsiteY6" fmla="*/ 940050 h 1655880"/>
              <a:gd name="connsiteX7" fmla="*/ 165167 w 1734660"/>
              <a:gd name="connsiteY7" fmla="*/ 903175 h 1655880"/>
              <a:gd name="connsiteX8" fmla="*/ 173114 w 1734660"/>
              <a:gd name="connsiteY8" fmla="*/ 764701 h 1655880"/>
              <a:gd name="connsiteX9" fmla="*/ 196126 w 1734660"/>
              <a:gd name="connsiteY9" fmla="*/ 720030 h 1655880"/>
              <a:gd name="connsiteX10" fmla="*/ 169253 w 1734660"/>
              <a:gd name="connsiteY10" fmla="*/ 673354 h 1655880"/>
              <a:gd name="connsiteX11" fmla="*/ 144837 w 1734660"/>
              <a:gd name="connsiteY11" fmla="*/ 632870 h 1655880"/>
              <a:gd name="connsiteX12" fmla="*/ 168175 w 1734660"/>
              <a:gd name="connsiteY12" fmla="*/ 536334 h 1655880"/>
              <a:gd name="connsiteX13" fmla="*/ 187026 w 1734660"/>
              <a:gd name="connsiteY13" fmla="*/ 513046 h 1655880"/>
              <a:gd name="connsiteX14" fmla="*/ 196126 w 1734660"/>
              <a:gd name="connsiteY14" fmla="*/ 499911 h 1655880"/>
              <a:gd name="connsiteX15" fmla="*/ 196126 w 1734660"/>
              <a:gd name="connsiteY15" fmla="*/ 392420 h 1655880"/>
              <a:gd name="connsiteX16" fmla="*/ 199987 w 1734660"/>
              <a:gd name="connsiteY16" fmla="*/ 267032 h 1655880"/>
              <a:gd name="connsiteX17" fmla="*/ 294868 w 1734660"/>
              <a:gd name="connsiteY17" fmla="*/ 149564 h 1655880"/>
              <a:gd name="connsiteX18" fmla="*/ 350819 w 1734660"/>
              <a:gd name="connsiteY18" fmla="*/ 107175 h 1655880"/>
              <a:gd name="connsiteX19" fmla="*/ 520903 w 1734660"/>
              <a:gd name="connsiteY19" fmla="*/ 11742 h 1655880"/>
              <a:gd name="connsiteX20" fmla="*/ 610470 w 1734660"/>
              <a:gd name="connsiteY20" fmla="*/ 3069 h 1655880"/>
              <a:gd name="connsiteX21" fmla="*/ 701391 w 1734660"/>
              <a:gd name="connsiteY21" fmla="*/ 11967 h 1655880"/>
              <a:gd name="connsiteX22" fmla="*/ 967786 w 1734660"/>
              <a:gd name="connsiteY22" fmla="*/ 269388 h 1655880"/>
              <a:gd name="connsiteX23" fmla="*/ 978540 w 1734660"/>
              <a:gd name="connsiteY23" fmla="*/ 401169 h 1655880"/>
              <a:gd name="connsiteX24" fmla="*/ 1003006 w 1734660"/>
              <a:gd name="connsiteY24" fmla="*/ 531245 h 1655880"/>
              <a:gd name="connsiteX25" fmla="*/ 1006264 w 1734660"/>
              <a:gd name="connsiteY25" fmla="*/ 673354 h 1655880"/>
              <a:gd name="connsiteX26" fmla="*/ 979392 w 1734660"/>
              <a:gd name="connsiteY26" fmla="*/ 720030 h 1655880"/>
              <a:gd name="connsiteX27" fmla="*/ 1002379 w 1734660"/>
              <a:gd name="connsiteY27" fmla="*/ 764701 h 1655880"/>
              <a:gd name="connsiteX28" fmla="*/ 1010852 w 1734660"/>
              <a:gd name="connsiteY28" fmla="*/ 902548 h 1655880"/>
              <a:gd name="connsiteX29" fmla="*/ 996864 w 1734660"/>
              <a:gd name="connsiteY29" fmla="*/ 921099 h 1655880"/>
              <a:gd name="connsiteX30" fmla="*/ 1037022 w 1734660"/>
              <a:gd name="connsiteY30" fmla="*/ 942857 h 1655880"/>
              <a:gd name="connsiteX31" fmla="*/ 1047601 w 1734660"/>
              <a:gd name="connsiteY31" fmla="*/ 923229 h 1655880"/>
              <a:gd name="connsiteX32" fmla="*/ 1168954 w 1734660"/>
              <a:gd name="connsiteY32" fmla="*/ 790470 h 1655880"/>
              <a:gd name="connsiteX33" fmla="*/ 1281859 w 1734660"/>
              <a:gd name="connsiteY33" fmla="*/ 742240 h 1655880"/>
              <a:gd name="connsiteX34" fmla="*/ 1697030 w 1734660"/>
              <a:gd name="connsiteY34" fmla="*/ 928293 h 1655880"/>
              <a:gd name="connsiteX35" fmla="*/ 1732476 w 1734660"/>
              <a:gd name="connsiteY35" fmla="*/ 1085417 h 1655880"/>
              <a:gd name="connsiteX36" fmla="*/ 1723176 w 1734660"/>
              <a:gd name="connsiteY36" fmla="*/ 1167188 h 1655880"/>
              <a:gd name="connsiteX37" fmla="*/ 1636943 w 1734660"/>
              <a:gd name="connsiteY37" fmla="*/ 1320101 h 1655880"/>
              <a:gd name="connsiteX38" fmla="*/ 1622780 w 1734660"/>
              <a:gd name="connsiteY38" fmla="*/ 1333437 h 1655880"/>
              <a:gd name="connsiteX39" fmla="*/ 1622780 w 1734660"/>
              <a:gd name="connsiteY39" fmla="*/ 1494949 h 1655880"/>
              <a:gd name="connsiteX40" fmla="*/ 1620173 w 1734660"/>
              <a:gd name="connsiteY40" fmla="*/ 1656360 h 1655880"/>
              <a:gd name="connsiteX41" fmla="*/ 1494283 w 1734660"/>
              <a:gd name="connsiteY41" fmla="*/ 1626353 h 1655880"/>
              <a:gd name="connsiteX42" fmla="*/ 1371025 w 1734660"/>
              <a:gd name="connsiteY42" fmla="*/ 1596448 h 1655880"/>
              <a:gd name="connsiteX43" fmla="*/ 1247767 w 1734660"/>
              <a:gd name="connsiteY43" fmla="*/ 1626353 h 1655880"/>
              <a:gd name="connsiteX44" fmla="*/ 1121877 w 1734660"/>
              <a:gd name="connsiteY44" fmla="*/ 1656360 h 1655880"/>
              <a:gd name="connsiteX45" fmla="*/ 1119245 w 1734660"/>
              <a:gd name="connsiteY45" fmla="*/ 1599005 h 1655880"/>
              <a:gd name="connsiteX46" fmla="*/ 1468939 w 1734660"/>
              <a:gd name="connsiteY46" fmla="*/ 1564386 h 1655880"/>
              <a:gd name="connsiteX47" fmla="*/ 1566828 w 1734660"/>
              <a:gd name="connsiteY47" fmla="*/ 1588050 h 1655880"/>
              <a:gd name="connsiteX48" fmla="*/ 1566828 w 1734660"/>
              <a:gd name="connsiteY48" fmla="*/ 1483443 h 1655880"/>
              <a:gd name="connsiteX49" fmla="*/ 1564222 w 1734660"/>
              <a:gd name="connsiteY49" fmla="*/ 1380113 h 1655880"/>
              <a:gd name="connsiteX50" fmla="*/ 1459414 w 1734660"/>
              <a:gd name="connsiteY50" fmla="*/ 1422302 h 1655880"/>
              <a:gd name="connsiteX51" fmla="*/ 1371025 w 1734660"/>
              <a:gd name="connsiteY51" fmla="*/ 1431101 h 1655880"/>
              <a:gd name="connsiteX52" fmla="*/ 1177828 w 1734660"/>
              <a:gd name="connsiteY52" fmla="*/ 1380113 h 1655880"/>
              <a:gd name="connsiteX53" fmla="*/ 1175196 w 1734660"/>
              <a:gd name="connsiteY53" fmla="*/ 1483443 h 1655880"/>
              <a:gd name="connsiteX54" fmla="*/ 1175196 w 1734660"/>
              <a:gd name="connsiteY54" fmla="*/ 1588050 h 1655880"/>
              <a:gd name="connsiteX55" fmla="*/ 1273110 w 1734660"/>
              <a:gd name="connsiteY55" fmla="*/ 1564386 h 1655880"/>
              <a:gd name="connsiteX56" fmla="*/ 1371025 w 1734660"/>
              <a:gd name="connsiteY56" fmla="*/ 1540722 h 1655880"/>
              <a:gd name="connsiteX57" fmla="*/ 224077 w 1734660"/>
              <a:gd name="connsiteY57" fmla="*/ 1298292 h 1655880"/>
              <a:gd name="connsiteX58" fmla="*/ 224077 w 1734660"/>
              <a:gd name="connsiteY58" fmla="*/ 1109056 h 1655880"/>
              <a:gd name="connsiteX59" fmla="*/ 252052 w 1734660"/>
              <a:gd name="connsiteY59" fmla="*/ 1109056 h 1655880"/>
              <a:gd name="connsiteX60" fmla="*/ 280028 w 1734660"/>
              <a:gd name="connsiteY60" fmla="*/ 1109056 h 1655880"/>
              <a:gd name="connsiteX61" fmla="*/ 280028 w 1734660"/>
              <a:gd name="connsiteY61" fmla="*/ 1298292 h 1655880"/>
              <a:gd name="connsiteX62" fmla="*/ 280028 w 1734660"/>
              <a:gd name="connsiteY62" fmla="*/ 1487503 h 1655880"/>
              <a:gd name="connsiteX63" fmla="*/ 391930 w 1734660"/>
              <a:gd name="connsiteY63" fmla="*/ 1487503 h 1655880"/>
              <a:gd name="connsiteX64" fmla="*/ 503832 w 1734660"/>
              <a:gd name="connsiteY64" fmla="*/ 1487503 h 1655880"/>
              <a:gd name="connsiteX65" fmla="*/ 503832 w 1734660"/>
              <a:gd name="connsiteY65" fmla="*/ 1359608 h 1655880"/>
              <a:gd name="connsiteX66" fmla="*/ 503832 w 1734660"/>
              <a:gd name="connsiteY66" fmla="*/ 1231712 h 1655880"/>
              <a:gd name="connsiteX67" fmla="*/ 524814 w 1734660"/>
              <a:gd name="connsiteY67" fmla="*/ 1214090 h 1655880"/>
              <a:gd name="connsiteX68" fmla="*/ 545796 w 1734660"/>
              <a:gd name="connsiteY68" fmla="*/ 1196442 h 1655880"/>
              <a:gd name="connsiteX69" fmla="*/ 521229 w 1734660"/>
              <a:gd name="connsiteY69" fmla="*/ 1170497 h 1655880"/>
              <a:gd name="connsiteX70" fmla="*/ 379471 w 1734660"/>
              <a:gd name="connsiteY70" fmla="*/ 914054 h 1655880"/>
              <a:gd name="connsiteX71" fmla="*/ 359743 w 1734660"/>
              <a:gd name="connsiteY71" fmla="*/ 916235 h 1655880"/>
              <a:gd name="connsiteX72" fmla="*/ 186851 w 1734660"/>
              <a:gd name="connsiteY72" fmla="*/ 979231 h 1655880"/>
              <a:gd name="connsiteX73" fmla="*/ 80464 w 1734660"/>
              <a:gd name="connsiteY73" fmla="*/ 1090481 h 1655880"/>
              <a:gd name="connsiteX74" fmla="*/ 56248 w 1734660"/>
              <a:gd name="connsiteY74" fmla="*/ 1328549 h 1655880"/>
              <a:gd name="connsiteX75" fmla="*/ 56248 w 1734660"/>
              <a:gd name="connsiteY75" fmla="*/ 1487503 h 1655880"/>
              <a:gd name="connsiteX76" fmla="*/ 140175 w 1734660"/>
              <a:gd name="connsiteY76" fmla="*/ 1487503 h 1655880"/>
              <a:gd name="connsiteX77" fmla="*/ 224077 w 1734660"/>
              <a:gd name="connsiteY77" fmla="*/ 1487503 h 1655880"/>
              <a:gd name="connsiteX78" fmla="*/ 895465 w 1734660"/>
              <a:gd name="connsiteY78" fmla="*/ 1311804 h 1655880"/>
              <a:gd name="connsiteX79" fmla="*/ 895465 w 1734660"/>
              <a:gd name="connsiteY79" fmla="*/ 1136104 h 1655880"/>
              <a:gd name="connsiteX80" fmla="*/ 923440 w 1734660"/>
              <a:gd name="connsiteY80" fmla="*/ 1136104 h 1655880"/>
              <a:gd name="connsiteX81" fmla="*/ 951416 w 1734660"/>
              <a:gd name="connsiteY81" fmla="*/ 1136104 h 1655880"/>
              <a:gd name="connsiteX82" fmla="*/ 951416 w 1734660"/>
              <a:gd name="connsiteY82" fmla="*/ 1311804 h 1655880"/>
              <a:gd name="connsiteX83" fmla="*/ 951416 w 1734660"/>
              <a:gd name="connsiteY83" fmla="*/ 1487503 h 1655880"/>
              <a:gd name="connsiteX84" fmla="*/ 1035343 w 1734660"/>
              <a:gd name="connsiteY84" fmla="*/ 1487503 h 1655880"/>
              <a:gd name="connsiteX85" fmla="*/ 1119245 w 1734660"/>
              <a:gd name="connsiteY85" fmla="*/ 1487503 h 1655880"/>
              <a:gd name="connsiteX86" fmla="*/ 1119245 w 1734660"/>
              <a:gd name="connsiteY86" fmla="*/ 1410470 h 1655880"/>
              <a:gd name="connsiteX87" fmla="*/ 1119245 w 1734660"/>
              <a:gd name="connsiteY87" fmla="*/ 1333437 h 1655880"/>
              <a:gd name="connsiteX88" fmla="*/ 1105106 w 1734660"/>
              <a:gd name="connsiteY88" fmla="*/ 1320101 h 1655880"/>
              <a:gd name="connsiteX89" fmla="*/ 1013810 w 1734660"/>
              <a:gd name="connsiteY89" fmla="*/ 1147911 h 1655880"/>
              <a:gd name="connsiteX90" fmla="*/ 1013609 w 1734660"/>
              <a:gd name="connsiteY90" fmla="*/ 1018236 h 1655880"/>
              <a:gd name="connsiteX91" fmla="*/ 988466 w 1734660"/>
              <a:gd name="connsiteY91" fmla="*/ 979130 h 1655880"/>
              <a:gd name="connsiteX92" fmla="*/ 815750 w 1734660"/>
              <a:gd name="connsiteY92" fmla="*/ 916235 h 1655880"/>
              <a:gd name="connsiteX93" fmla="*/ 796021 w 1734660"/>
              <a:gd name="connsiteY93" fmla="*/ 914054 h 1655880"/>
              <a:gd name="connsiteX94" fmla="*/ 591694 w 1734660"/>
              <a:gd name="connsiteY94" fmla="*/ 1228830 h 1655880"/>
              <a:gd name="connsiteX95" fmla="*/ 559758 w 1734660"/>
              <a:gd name="connsiteY95" fmla="*/ 1255702 h 1655880"/>
              <a:gd name="connsiteX96" fmla="*/ 559758 w 1734660"/>
              <a:gd name="connsiteY96" fmla="*/ 1371590 h 1655880"/>
              <a:gd name="connsiteX97" fmla="*/ 559758 w 1734660"/>
              <a:gd name="connsiteY97" fmla="*/ 1487503 h 1655880"/>
              <a:gd name="connsiteX98" fmla="*/ 727612 w 1734660"/>
              <a:gd name="connsiteY98" fmla="*/ 1487503 h 1655880"/>
              <a:gd name="connsiteX99" fmla="*/ 895440 w 1734660"/>
              <a:gd name="connsiteY99" fmla="*/ 1487503 h 1655880"/>
              <a:gd name="connsiteX100" fmla="*/ 615734 w 1734660"/>
              <a:gd name="connsiteY100" fmla="*/ 1406410 h 1655880"/>
              <a:gd name="connsiteX101" fmla="*/ 615734 w 1734660"/>
              <a:gd name="connsiteY101" fmla="*/ 1379387 h 1655880"/>
              <a:gd name="connsiteX102" fmla="*/ 643710 w 1734660"/>
              <a:gd name="connsiteY102" fmla="*/ 1379387 h 1655880"/>
              <a:gd name="connsiteX103" fmla="*/ 671661 w 1734660"/>
              <a:gd name="connsiteY103" fmla="*/ 1379387 h 1655880"/>
              <a:gd name="connsiteX104" fmla="*/ 671661 w 1734660"/>
              <a:gd name="connsiteY104" fmla="*/ 1406410 h 1655880"/>
              <a:gd name="connsiteX105" fmla="*/ 671661 w 1734660"/>
              <a:gd name="connsiteY105" fmla="*/ 1433432 h 1655880"/>
              <a:gd name="connsiteX106" fmla="*/ 643710 w 1734660"/>
              <a:gd name="connsiteY106" fmla="*/ 1433432 h 1655880"/>
              <a:gd name="connsiteX107" fmla="*/ 615734 w 1734660"/>
              <a:gd name="connsiteY107" fmla="*/ 1433432 h 1655880"/>
              <a:gd name="connsiteX108" fmla="*/ 615734 w 1734660"/>
              <a:gd name="connsiteY108" fmla="*/ 1298292 h 1655880"/>
              <a:gd name="connsiteX109" fmla="*/ 615734 w 1734660"/>
              <a:gd name="connsiteY109" fmla="*/ 1271244 h 1655880"/>
              <a:gd name="connsiteX110" fmla="*/ 643710 w 1734660"/>
              <a:gd name="connsiteY110" fmla="*/ 1271244 h 1655880"/>
              <a:gd name="connsiteX111" fmla="*/ 671661 w 1734660"/>
              <a:gd name="connsiteY111" fmla="*/ 1271244 h 1655880"/>
              <a:gd name="connsiteX112" fmla="*/ 671661 w 1734660"/>
              <a:gd name="connsiteY112" fmla="*/ 1298292 h 1655880"/>
              <a:gd name="connsiteX113" fmla="*/ 671661 w 1734660"/>
              <a:gd name="connsiteY113" fmla="*/ 1325316 h 1655880"/>
              <a:gd name="connsiteX114" fmla="*/ 643710 w 1734660"/>
              <a:gd name="connsiteY114" fmla="*/ 1325316 h 1655880"/>
              <a:gd name="connsiteX115" fmla="*/ 615734 w 1734660"/>
              <a:gd name="connsiteY115" fmla="*/ 1325316 h 1655880"/>
              <a:gd name="connsiteX116" fmla="*/ 1427452 w 1734660"/>
              <a:gd name="connsiteY116" fmla="*/ 1374022 h 1655880"/>
              <a:gd name="connsiteX117" fmla="*/ 1589640 w 1734660"/>
              <a:gd name="connsiteY117" fmla="*/ 1290246 h 1655880"/>
              <a:gd name="connsiteX118" fmla="*/ 1672113 w 1734660"/>
              <a:gd name="connsiteY118" fmla="*/ 1022898 h 1655880"/>
              <a:gd name="connsiteX119" fmla="*/ 1587961 w 1734660"/>
              <a:gd name="connsiteY119" fmla="*/ 872392 h 1655880"/>
              <a:gd name="connsiteX120" fmla="*/ 1153863 w 1734660"/>
              <a:gd name="connsiteY120" fmla="*/ 872166 h 1655880"/>
              <a:gd name="connsiteX121" fmla="*/ 1152384 w 1734660"/>
              <a:gd name="connsiteY121" fmla="*/ 1290246 h 1655880"/>
              <a:gd name="connsiteX122" fmla="*/ 1427452 w 1734660"/>
              <a:gd name="connsiteY122" fmla="*/ 1374022 h 1655880"/>
              <a:gd name="connsiteX123" fmla="*/ 1321566 w 1734660"/>
              <a:gd name="connsiteY123" fmla="*/ 1320201 h 1655880"/>
              <a:gd name="connsiteX124" fmla="*/ 1138296 w 1734660"/>
              <a:gd name="connsiteY124" fmla="*/ 1173480 h 1655880"/>
              <a:gd name="connsiteX125" fmla="*/ 1324775 w 1734660"/>
              <a:gd name="connsiteY125" fmla="*/ 843539 h 1655880"/>
              <a:gd name="connsiteX126" fmla="*/ 1617741 w 1734660"/>
              <a:gd name="connsiteY126" fmla="*/ 1127205 h 1655880"/>
              <a:gd name="connsiteX127" fmla="*/ 1321566 w 1734660"/>
              <a:gd name="connsiteY127" fmla="*/ 1320201 h 1655880"/>
              <a:gd name="connsiteX128" fmla="*/ 1413890 w 1734660"/>
              <a:gd name="connsiteY128" fmla="*/ 1266306 h 1655880"/>
              <a:gd name="connsiteX129" fmla="*/ 1564121 w 1734660"/>
              <a:gd name="connsiteY129" fmla="*/ 1054509 h 1655880"/>
              <a:gd name="connsiteX130" fmla="*/ 1233553 w 1734660"/>
              <a:gd name="connsiteY130" fmla="*/ 948547 h 1655880"/>
              <a:gd name="connsiteX131" fmla="*/ 1285143 w 1734660"/>
              <a:gd name="connsiteY131" fmla="*/ 1251015 h 1655880"/>
              <a:gd name="connsiteX132" fmla="*/ 1413890 w 1734660"/>
              <a:gd name="connsiteY132" fmla="*/ 1266306 h 1655880"/>
              <a:gd name="connsiteX133" fmla="*/ 1307177 w 1734660"/>
              <a:gd name="connsiteY133" fmla="*/ 1211884 h 1655880"/>
              <a:gd name="connsiteX134" fmla="*/ 1259122 w 1734660"/>
              <a:gd name="connsiteY134" fmla="*/ 1167740 h 1655880"/>
              <a:gd name="connsiteX135" fmla="*/ 1266492 w 1734660"/>
              <a:gd name="connsiteY135" fmla="*/ 1139940 h 1655880"/>
              <a:gd name="connsiteX136" fmla="*/ 1272634 w 1734660"/>
              <a:gd name="connsiteY136" fmla="*/ 1117855 h 1655880"/>
              <a:gd name="connsiteX137" fmla="*/ 1251251 w 1734660"/>
              <a:gd name="connsiteY137" fmla="*/ 1102438 h 1655880"/>
              <a:gd name="connsiteX138" fmla="*/ 1231172 w 1734660"/>
              <a:gd name="connsiteY138" fmla="*/ 1077396 h 1655880"/>
              <a:gd name="connsiteX139" fmla="*/ 1247666 w 1734660"/>
              <a:gd name="connsiteY139" fmla="*/ 1020367 h 1655880"/>
              <a:gd name="connsiteX140" fmla="*/ 1256591 w 1734660"/>
              <a:gd name="connsiteY140" fmla="*/ 1000939 h 1655880"/>
              <a:gd name="connsiteX141" fmla="*/ 1283889 w 1734660"/>
              <a:gd name="connsiteY141" fmla="*/ 1000939 h 1655880"/>
              <a:gd name="connsiteX142" fmla="*/ 1311163 w 1734660"/>
              <a:gd name="connsiteY142" fmla="*/ 1000939 h 1655880"/>
              <a:gd name="connsiteX143" fmla="*/ 1319084 w 1734660"/>
              <a:gd name="connsiteY143" fmla="*/ 977175 h 1655880"/>
              <a:gd name="connsiteX144" fmla="*/ 1371025 w 1734660"/>
              <a:gd name="connsiteY144" fmla="*/ 948573 h 1655880"/>
              <a:gd name="connsiteX145" fmla="*/ 1422940 w 1734660"/>
              <a:gd name="connsiteY145" fmla="*/ 977175 h 1655880"/>
              <a:gd name="connsiteX146" fmla="*/ 1430861 w 1734660"/>
              <a:gd name="connsiteY146" fmla="*/ 1000939 h 1655880"/>
              <a:gd name="connsiteX147" fmla="*/ 1456330 w 1734660"/>
              <a:gd name="connsiteY147" fmla="*/ 1000939 h 1655880"/>
              <a:gd name="connsiteX148" fmla="*/ 1481799 w 1734660"/>
              <a:gd name="connsiteY148" fmla="*/ 1000939 h 1655880"/>
              <a:gd name="connsiteX149" fmla="*/ 1490773 w 1734660"/>
              <a:gd name="connsiteY149" fmla="*/ 1016983 h 1655880"/>
              <a:gd name="connsiteX150" fmla="*/ 1510877 w 1734660"/>
              <a:gd name="connsiteY150" fmla="*/ 1078850 h 1655880"/>
              <a:gd name="connsiteX151" fmla="*/ 1490773 w 1734660"/>
              <a:gd name="connsiteY151" fmla="*/ 1102438 h 1655880"/>
              <a:gd name="connsiteX152" fmla="*/ 1469416 w 1734660"/>
              <a:gd name="connsiteY152" fmla="*/ 1117855 h 1655880"/>
              <a:gd name="connsiteX153" fmla="*/ 1475532 w 1734660"/>
              <a:gd name="connsiteY153" fmla="*/ 1139940 h 1655880"/>
              <a:gd name="connsiteX154" fmla="*/ 1482927 w 1734660"/>
              <a:gd name="connsiteY154" fmla="*/ 1167740 h 1655880"/>
              <a:gd name="connsiteX155" fmla="*/ 1411986 w 1734660"/>
              <a:gd name="connsiteY155" fmla="*/ 1218377 h 1655880"/>
              <a:gd name="connsiteX156" fmla="*/ 1389274 w 1734660"/>
              <a:gd name="connsiteY156" fmla="*/ 1202559 h 1655880"/>
              <a:gd name="connsiteX157" fmla="*/ 1370824 w 1734660"/>
              <a:gd name="connsiteY157" fmla="*/ 1189223 h 1655880"/>
              <a:gd name="connsiteX158" fmla="*/ 1349943 w 1734660"/>
              <a:gd name="connsiteY158" fmla="*/ 1204890 h 1655880"/>
              <a:gd name="connsiteX159" fmla="*/ 1326429 w 1734660"/>
              <a:gd name="connsiteY159" fmla="*/ 1220407 h 1655880"/>
              <a:gd name="connsiteX160" fmla="*/ 1307177 w 1734660"/>
              <a:gd name="connsiteY160" fmla="*/ 1211884 h 1655880"/>
              <a:gd name="connsiteX161" fmla="*/ 1347912 w 1734660"/>
              <a:gd name="connsiteY161" fmla="*/ 1139263 h 1655880"/>
              <a:gd name="connsiteX162" fmla="*/ 1371301 w 1734660"/>
              <a:gd name="connsiteY162" fmla="*/ 1122141 h 1655880"/>
              <a:gd name="connsiteX163" fmla="*/ 1395190 w 1734660"/>
              <a:gd name="connsiteY163" fmla="*/ 1139263 h 1655880"/>
              <a:gd name="connsiteX164" fmla="*/ 1421060 w 1734660"/>
              <a:gd name="connsiteY164" fmla="*/ 1156359 h 1655880"/>
              <a:gd name="connsiteX165" fmla="*/ 1414517 w 1734660"/>
              <a:gd name="connsiteY165" fmla="*/ 1132119 h 1655880"/>
              <a:gd name="connsiteX166" fmla="*/ 1405994 w 1734660"/>
              <a:gd name="connsiteY166" fmla="*/ 1101987 h 1655880"/>
              <a:gd name="connsiteX167" fmla="*/ 1428781 w 1734660"/>
              <a:gd name="connsiteY167" fmla="*/ 1079928 h 1655880"/>
              <a:gd name="connsiteX168" fmla="*/ 1450339 w 1734660"/>
              <a:gd name="connsiteY168" fmla="*/ 1060224 h 1655880"/>
              <a:gd name="connsiteX169" fmla="*/ 1419907 w 1734660"/>
              <a:gd name="connsiteY169" fmla="*/ 1055010 h 1655880"/>
              <a:gd name="connsiteX170" fmla="*/ 1390653 w 1734660"/>
              <a:gd name="connsiteY170" fmla="*/ 1053305 h 1655880"/>
              <a:gd name="connsiteX171" fmla="*/ 1381879 w 1734660"/>
              <a:gd name="connsiteY171" fmla="*/ 1027110 h 1655880"/>
              <a:gd name="connsiteX172" fmla="*/ 1370799 w 1734660"/>
              <a:gd name="connsiteY172" fmla="*/ 1000939 h 1655880"/>
              <a:gd name="connsiteX173" fmla="*/ 1360521 w 1734660"/>
              <a:gd name="connsiteY173" fmla="*/ 1027962 h 1655880"/>
              <a:gd name="connsiteX174" fmla="*/ 1352575 w 1734660"/>
              <a:gd name="connsiteY174" fmla="*/ 1054985 h 1655880"/>
              <a:gd name="connsiteX175" fmla="*/ 1321591 w 1734660"/>
              <a:gd name="connsiteY175" fmla="*/ 1054985 h 1655880"/>
              <a:gd name="connsiteX176" fmla="*/ 1290607 w 1734660"/>
              <a:gd name="connsiteY176" fmla="*/ 1059422 h 1655880"/>
              <a:gd name="connsiteX177" fmla="*/ 1313319 w 1734660"/>
              <a:gd name="connsiteY177" fmla="*/ 1079953 h 1655880"/>
              <a:gd name="connsiteX178" fmla="*/ 1336055 w 1734660"/>
              <a:gd name="connsiteY178" fmla="*/ 1101987 h 1655880"/>
              <a:gd name="connsiteX179" fmla="*/ 1327507 w 1734660"/>
              <a:gd name="connsiteY179" fmla="*/ 1132119 h 1655880"/>
              <a:gd name="connsiteX180" fmla="*/ 1321742 w 1734660"/>
              <a:gd name="connsiteY180" fmla="*/ 1156359 h 1655880"/>
              <a:gd name="connsiteX181" fmla="*/ 1347912 w 1734660"/>
              <a:gd name="connsiteY181" fmla="*/ 1139263 h 1655880"/>
              <a:gd name="connsiteX182" fmla="*/ 611874 w 1734660"/>
              <a:gd name="connsiteY182" fmla="*/ 1134751 h 1655880"/>
              <a:gd name="connsiteX183" fmla="*/ 632755 w 1734660"/>
              <a:gd name="connsiteY183" fmla="*/ 1109783 h 1655880"/>
              <a:gd name="connsiteX184" fmla="*/ 587759 w 1734660"/>
              <a:gd name="connsiteY184" fmla="*/ 1048493 h 1655880"/>
              <a:gd name="connsiteX185" fmla="*/ 542762 w 1734660"/>
              <a:gd name="connsiteY185" fmla="*/ 1109783 h 1655880"/>
              <a:gd name="connsiteX186" fmla="*/ 587759 w 1734660"/>
              <a:gd name="connsiteY186" fmla="*/ 1156359 h 1655880"/>
              <a:gd name="connsiteX187" fmla="*/ 611874 w 1734660"/>
              <a:gd name="connsiteY187" fmla="*/ 1134751 h 1655880"/>
              <a:gd name="connsiteX188" fmla="*/ 529903 w 1734660"/>
              <a:gd name="connsiteY188" fmla="*/ 1032876 h 1655880"/>
              <a:gd name="connsiteX189" fmla="*/ 553567 w 1734660"/>
              <a:gd name="connsiteY189" fmla="*/ 1000588 h 1655880"/>
              <a:gd name="connsiteX190" fmla="*/ 513834 w 1734660"/>
              <a:gd name="connsiteY190" fmla="*/ 942882 h 1655880"/>
              <a:gd name="connsiteX191" fmla="*/ 471946 w 1734660"/>
              <a:gd name="connsiteY191" fmla="*/ 881943 h 1655880"/>
              <a:gd name="connsiteX192" fmla="*/ 433893 w 1734660"/>
              <a:gd name="connsiteY192" fmla="*/ 896206 h 1655880"/>
              <a:gd name="connsiteX193" fmla="*/ 460590 w 1734660"/>
              <a:gd name="connsiteY193" fmla="*/ 980484 h 1655880"/>
              <a:gd name="connsiteX194" fmla="*/ 505662 w 1734660"/>
              <a:gd name="connsiteY194" fmla="*/ 1065137 h 1655880"/>
              <a:gd name="connsiteX195" fmla="*/ 529903 w 1734660"/>
              <a:gd name="connsiteY195" fmla="*/ 1032876 h 1655880"/>
              <a:gd name="connsiteX196" fmla="*/ 701441 w 1734660"/>
              <a:gd name="connsiteY196" fmla="*/ 1009086 h 1655880"/>
              <a:gd name="connsiteX197" fmla="*/ 739970 w 1734660"/>
              <a:gd name="connsiteY197" fmla="*/ 904629 h 1655880"/>
              <a:gd name="connsiteX198" fmla="*/ 742176 w 1734660"/>
              <a:gd name="connsiteY198" fmla="*/ 891118 h 1655880"/>
              <a:gd name="connsiteX199" fmla="*/ 723927 w 1734660"/>
              <a:gd name="connsiteY199" fmla="*/ 884901 h 1655880"/>
              <a:gd name="connsiteX200" fmla="*/ 703547 w 1734660"/>
              <a:gd name="connsiteY200" fmla="*/ 881943 h 1655880"/>
              <a:gd name="connsiteX201" fmla="*/ 661658 w 1734660"/>
              <a:gd name="connsiteY201" fmla="*/ 942882 h 1655880"/>
              <a:gd name="connsiteX202" fmla="*/ 621926 w 1734660"/>
              <a:gd name="connsiteY202" fmla="*/ 1000588 h 1655880"/>
              <a:gd name="connsiteX203" fmla="*/ 645715 w 1734660"/>
              <a:gd name="connsiteY203" fmla="*/ 1033051 h 1655880"/>
              <a:gd name="connsiteX204" fmla="*/ 669530 w 1734660"/>
              <a:gd name="connsiteY204" fmla="*/ 1065489 h 1655880"/>
              <a:gd name="connsiteX205" fmla="*/ 677752 w 1734660"/>
              <a:gd name="connsiteY205" fmla="*/ 1052629 h 1655880"/>
              <a:gd name="connsiteX206" fmla="*/ 701441 w 1734660"/>
              <a:gd name="connsiteY206" fmla="*/ 1009086 h 1655880"/>
              <a:gd name="connsiteX207" fmla="*/ 624458 w 1734660"/>
              <a:gd name="connsiteY207" fmla="*/ 899089 h 1655880"/>
              <a:gd name="connsiteX208" fmla="*/ 660706 w 1734660"/>
              <a:gd name="connsiteY208" fmla="*/ 844792 h 1655880"/>
              <a:gd name="connsiteX209" fmla="*/ 655868 w 1734660"/>
              <a:gd name="connsiteY209" fmla="*/ 828473 h 1655880"/>
              <a:gd name="connsiteX210" fmla="*/ 649776 w 1734660"/>
              <a:gd name="connsiteY210" fmla="*/ 815413 h 1655880"/>
              <a:gd name="connsiteX211" fmla="*/ 637117 w 1734660"/>
              <a:gd name="connsiteY211" fmla="*/ 821504 h 1655880"/>
              <a:gd name="connsiteX212" fmla="*/ 606108 w 1734660"/>
              <a:gd name="connsiteY212" fmla="*/ 833838 h 1655880"/>
              <a:gd name="connsiteX213" fmla="*/ 569384 w 1734660"/>
              <a:gd name="connsiteY213" fmla="*/ 833838 h 1655880"/>
              <a:gd name="connsiteX214" fmla="*/ 538376 w 1734660"/>
              <a:gd name="connsiteY214" fmla="*/ 821504 h 1655880"/>
              <a:gd name="connsiteX215" fmla="*/ 525716 w 1734660"/>
              <a:gd name="connsiteY215" fmla="*/ 815413 h 1655880"/>
              <a:gd name="connsiteX216" fmla="*/ 519625 w 1734660"/>
              <a:gd name="connsiteY216" fmla="*/ 828473 h 1655880"/>
              <a:gd name="connsiteX217" fmla="*/ 514787 w 1734660"/>
              <a:gd name="connsiteY217" fmla="*/ 844792 h 1655880"/>
              <a:gd name="connsiteX218" fmla="*/ 587759 w 1734660"/>
              <a:gd name="connsiteY218" fmla="*/ 950102 h 1655880"/>
              <a:gd name="connsiteX219" fmla="*/ 624458 w 1734660"/>
              <a:gd name="connsiteY219" fmla="*/ 899089 h 1655880"/>
              <a:gd name="connsiteX220" fmla="*/ 354654 w 1734660"/>
              <a:gd name="connsiteY220" fmla="*/ 861061 h 1655880"/>
              <a:gd name="connsiteX221" fmla="*/ 455677 w 1734660"/>
              <a:gd name="connsiteY221" fmla="*/ 822958 h 1655880"/>
              <a:gd name="connsiteX222" fmla="*/ 469790 w 1734660"/>
              <a:gd name="connsiteY222" fmla="*/ 801826 h 1655880"/>
              <a:gd name="connsiteX223" fmla="*/ 476709 w 1734660"/>
              <a:gd name="connsiteY223" fmla="*/ 786886 h 1655880"/>
              <a:gd name="connsiteX224" fmla="*/ 466657 w 1734660"/>
              <a:gd name="connsiteY224" fmla="*/ 780168 h 1655880"/>
              <a:gd name="connsiteX225" fmla="*/ 376112 w 1734660"/>
              <a:gd name="connsiteY225" fmla="*/ 688370 h 1655880"/>
              <a:gd name="connsiteX226" fmla="*/ 328709 w 1734660"/>
              <a:gd name="connsiteY226" fmla="*/ 595469 h 1655880"/>
              <a:gd name="connsiteX227" fmla="*/ 309056 w 1734660"/>
              <a:gd name="connsiteY227" fmla="*/ 440876 h 1655880"/>
              <a:gd name="connsiteX228" fmla="*/ 307251 w 1734660"/>
              <a:gd name="connsiteY228" fmla="*/ 352162 h 1655880"/>
              <a:gd name="connsiteX229" fmla="*/ 358490 w 1734660"/>
              <a:gd name="connsiteY229" fmla="*/ 352162 h 1655880"/>
              <a:gd name="connsiteX230" fmla="*/ 565799 w 1734660"/>
              <a:gd name="connsiteY230" fmla="*/ 280242 h 1655880"/>
              <a:gd name="connsiteX231" fmla="*/ 587759 w 1734660"/>
              <a:gd name="connsiteY231" fmla="*/ 259862 h 1655880"/>
              <a:gd name="connsiteX232" fmla="*/ 609718 w 1734660"/>
              <a:gd name="connsiteY232" fmla="*/ 280242 h 1655880"/>
              <a:gd name="connsiteX233" fmla="*/ 817003 w 1734660"/>
              <a:gd name="connsiteY233" fmla="*/ 352162 h 1655880"/>
              <a:gd name="connsiteX234" fmla="*/ 868241 w 1734660"/>
              <a:gd name="connsiteY234" fmla="*/ 352162 h 1655880"/>
              <a:gd name="connsiteX235" fmla="*/ 866462 w 1734660"/>
              <a:gd name="connsiteY235" fmla="*/ 440876 h 1655880"/>
              <a:gd name="connsiteX236" fmla="*/ 846783 w 1734660"/>
              <a:gd name="connsiteY236" fmla="*/ 595469 h 1655880"/>
              <a:gd name="connsiteX237" fmla="*/ 799381 w 1734660"/>
              <a:gd name="connsiteY237" fmla="*/ 688370 h 1655880"/>
              <a:gd name="connsiteX238" fmla="*/ 708836 w 1734660"/>
              <a:gd name="connsiteY238" fmla="*/ 780168 h 1655880"/>
              <a:gd name="connsiteX239" fmla="*/ 698784 w 1734660"/>
              <a:gd name="connsiteY239" fmla="*/ 786886 h 1655880"/>
              <a:gd name="connsiteX240" fmla="*/ 705703 w 1734660"/>
              <a:gd name="connsiteY240" fmla="*/ 801826 h 1655880"/>
              <a:gd name="connsiteX241" fmla="*/ 719640 w 1734660"/>
              <a:gd name="connsiteY241" fmla="*/ 822808 h 1655880"/>
              <a:gd name="connsiteX242" fmla="*/ 936777 w 1734660"/>
              <a:gd name="connsiteY242" fmla="*/ 899490 h 1655880"/>
              <a:gd name="connsiteX243" fmla="*/ 970066 w 1734660"/>
              <a:gd name="connsiteY243" fmla="*/ 864471 h 1655880"/>
              <a:gd name="connsiteX244" fmla="*/ 978490 w 1734660"/>
              <a:gd name="connsiteY244" fmla="*/ 834790 h 1655880"/>
              <a:gd name="connsiteX245" fmla="*/ 958736 w 1734660"/>
              <a:gd name="connsiteY245" fmla="*/ 797916 h 1655880"/>
              <a:gd name="connsiteX246" fmla="*/ 924819 w 1734660"/>
              <a:gd name="connsiteY246" fmla="*/ 732915 h 1655880"/>
              <a:gd name="connsiteX247" fmla="*/ 947430 w 1734660"/>
              <a:gd name="connsiteY247" fmla="*/ 659216 h 1655880"/>
              <a:gd name="connsiteX248" fmla="*/ 978464 w 1734660"/>
              <a:gd name="connsiteY248" fmla="*/ 601510 h 1655880"/>
              <a:gd name="connsiteX249" fmla="*/ 966808 w 1734660"/>
              <a:gd name="connsiteY249" fmla="*/ 573509 h 1655880"/>
              <a:gd name="connsiteX250" fmla="*/ 945375 w 1734660"/>
              <a:gd name="connsiteY250" fmla="*/ 547865 h 1655880"/>
              <a:gd name="connsiteX251" fmla="*/ 923440 w 1734660"/>
              <a:gd name="connsiteY251" fmla="*/ 416210 h 1655880"/>
              <a:gd name="connsiteX252" fmla="*/ 918126 w 1734660"/>
              <a:gd name="connsiteY252" fmla="*/ 303330 h 1655880"/>
              <a:gd name="connsiteX253" fmla="*/ 666346 w 1734660"/>
              <a:gd name="connsiteY253" fmla="*/ 59722 h 1655880"/>
              <a:gd name="connsiteX254" fmla="*/ 371124 w 1734660"/>
              <a:gd name="connsiteY254" fmla="*/ 164103 h 1655880"/>
              <a:gd name="connsiteX255" fmla="*/ 343148 w 1734660"/>
              <a:gd name="connsiteY255" fmla="*/ 188820 h 1655880"/>
              <a:gd name="connsiteX256" fmla="*/ 281557 w 1734660"/>
              <a:gd name="connsiteY256" fmla="*/ 225520 h 1655880"/>
              <a:gd name="connsiteX257" fmla="*/ 261753 w 1734660"/>
              <a:gd name="connsiteY257" fmla="*/ 256152 h 1655880"/>
              <a:gd name="connsiteX258" fmla="*/ 252052 w 1734660"/>
              <a:gd name="connsiteY258" fmla="*/ 392721 h 1655880"/>
              <a:gd name="connsiteX259" fmla="*/ 219113 w 1734660"/>
              <a:gd name="connsiteY259" fmla="*/ 561377 h 1655880"/>
              <a:gd name="connsiteX260" fmla="*/ 196126 w 1734660"/>
              <a:gd name="connsiteY260" fmla="*/ 607000 h 1655880"/>
              <a:gd name="connsiteX261" fmla="*/ 228087 w 1734660"/>
              <a:gd name="connsiteY261" fmla="*/ 659216 h 1655880"/>
              <a:gd name="connsiteX262" fmla="*/ 250698 w 1734660"/>
              <a:gd name="connsiteY262" fmla="*/ 732915 h 1655880"/>
              <a:gd name="connsiteX263" fmla="*/ 216857 w 1734660"/>
              <a:gd name="connsiteY263" fmla="*/ 797816 h 1655880"/>
              <a:gd name="connsiteX264" fmla="*/ 197028 w 1734660"/>
              <a:gd name="connsiteY264" fmla="*/ 833362 h 1655880"/>
              <a:gd name="connsiteX265" fmla="*/ 220016 w 1734660"/>
              <a:gd name="connsiteY265" fmla="*/ 883221 h 1655880"/>
              <a:gd name="connsiteX266" fmla="*/ 235933 w 1734660"/>
              <a:gd name="connsiteY266" fmla="*/ 902373 h 1655880"/>
              <a:gd name="connsiteX267" fmla="*/ 248367 w 1734660"/>
              <a:gd name="connsiteY267" fmla="*/ 897685 h 1655880"/>
              <a:gd name="connsiteX268" fmla="*/ 354654 w 1734660"/>
              <a:gd name="connsiteY268" fmla="*/ 861061 h 1655880"/>
              <a:gd name="connsiteX269" fmla="*/ 627140 w 1734660"/>
              <a:gd name="connsiteY269" fmla="*/ 765453 h 1655880"/>
              <a:gd name="connsiteX270" fmla="*/ 775616 w 1734660"/>
              <a:gd name="connsiteY270" fmla="*/ 620812 h 1655880"/>
              <a:gd name="connsiteX271" fmla="*/ 811538 w 1734660"/>
              <a:gd name="connsiteY271" fmla="*/ 453611 h 1655880"/>
              <a:gd name="connsiteX272" fmla="*/ 811538 w 1734660"/>
              <a:gd name="connsiteY272" fmla="*/ 407261 h 1655880"/>
              <a:gd name="connsiteX273" fmla="*/ 775691 w 1734660"/>
              <a:gd name="connsiteY273" fmla="*/ 405205 h 1655880"/>
              <a:gd name="connsiteX274" fmla="*/ 610044 w 1734660"/>
              <a:gd name="connsiteY274" fmla="*/ 350557 h 1655880"/>
              <a:gd name="connsiteX275" fmla="*/ 587759 w 1734660"/>
              <a:gd name="connsiteY275" fmla="*/ 335517 h 1655880"/>
              <a:gd name="connsiteX276" fmla="*/ 565449 w 1734660"/>
              <a:gd name="connsiteY276" fmla="*/ 350557 h 1655880"/>
              <a:gd name="connsiteX277" fmla="*/ 399801 w 1734660"/>
              <a:gd name="connsiteY277" fmla="*/ 405205 h 1655880"/>
              <a:gd name="connsiteX278" fmla="*/ 363954 w 1734660"/>
              <a:gd name="connsiteY278" fmla="*/ 407261 h 1655880"/>
              <a:gd name="connsiteX279" fmla="*/ 363954 w 1734660"/>
              <a:gd name="connsiteY279" fmla="*/ 453611 h 1655880"/>
              <a:gd name="connsiteX280" fmla="*/ 399901 w 1734660"/>
              <a:gd name="connsiteY280" fmla="*/ 620812 h 1655880"/>
              <a:gd name="connsiteX281" fmla="*/ 491574 w 1734660"/>
              <a:gd name="connsiteY281" fmla="*/ 730609 h 1655880"/>
              <a:gd name="connsiteX282" fmla="*/ 587182 w 1734660"/>
              <a:gd name="connsiteY282" fmla="*/ 781246 h 1655880"/>
              <a:gd name="connsiteX283" fmla="*/ 627140 w 1734660"/>
              <a:gd name="connsiteY283" fmla="*/ 765453 h 1655880"/>
              <a:gd name="connsiteX284" fmla="*/ 1340592 w 1734660"/>
              <a:gd name="connsiteY284" fmla="*/ 671198 h 1655880"/>
              <a:gd name="connsiteX285" fmla="*/ 1312041 w 1734660"/>
              <a:gd name="connsiteY285" fmla="*/ 652548 h 1655880"/>
              <a:gd name="connsiteX286" fmla="*/ 1287098 w 1734660"/>
              <a:gd name="connsiteY286" fmla="*/ 561076 h 1655880"/>
              <a:gd name="connsiteX287" fmla="*/ 1287098 w 1734660"/>
              <a:gd name="connsiteY287" fmla="*/ 514375 h 1655880"/>
              <a:gd name="connsiteX288" fmla="*/ 1195300 w 1734660"/>
              <a:gd name="connsiteY288" fmla="*/ 514350 h 1655880"/>
              <a:gd name="connsiteX289" fmla="*/ 1085829 w 1734660"/>
              <a:gd name="connsiteY289" fmla="*/ 506353 h 1655880"/>
              <a:gd name="connsiteX290" fmla="*/ 1039379 w 1734660"/>
              <a:gd name="connsiteY290" fmla="*/ 457396 h 1655880"/>
              <a:gd name="connsiteX291" fmla="*/ 1039579 w 1734660"/>
              <a:gd name="connsiteY291" fmla="*/ 56914 h 1655880"/>
              <a:gd name="connsiteX292" fmla="*/ 1093450 w 1734660"/>
              <a:gd name="connsiteY292" fmla="*/ 4874 h 1655880"/>
              <a:gd name="connsiteX293" fmla="*/ 1675748 w 1734660"/>
              <a:gd name="connsiteY293" fmla="*/ 4698 h 1655880"/>
              <a:gd name="connsiteX294" fmla="*/ 1726385 w 1734660"/>
              <a:gd name="connsiteY294" fmla="*/ 49594 h 1655880"/>
              <a:gd name="connsiteX295" fmla="*/ 1734607 w 1734660"/>
              <a:gd name="connsiteY295" fmla="*/ 66665 h 1655880"/>
              <a:gd name="connsiteX296" fmla="*/ 1734607 w 1734660"/>
              <a:gd name="connsiteY296" fmla="*/ 257581 h 1655880"/>
              <a:gd name="connsiteX297" fmla="*/ 1734607 w 1734660"/>
              <a:gd name="connsiteY297" fmla="*/ 448497 h 1655880"/>
              <a:gd name="connsiteX298" fmla="*/ 1726360 w 1734660"/>
              <a:gd name="connsiteY298" fmla="*/ 465393 h 1655880"/>
              <a:gd name="connsiteX299" fmla="*/ 1682240 w 1734660"/>
              <a:gd name="connsiteY299" fmla="*/ 507356 h 1655880"/>
              <a:gd name="connsiteX300" fmla="*/ 1596358 w 1734660"/>
              <a:gd name="connsiteY300" fmla="*/ 514299 h 1655880"/>
              <a:gd name="connsiteX301" fmla="*/ 1526219 w 1734660"/>
              <a:gd name="connsiteY301" fmla="*/ 514375 h 1655880"/>
              <a:gd name="connsiteX302" fmla="*/ 1477462 w 1734660"/>
              <a:gd name="connsiteY302" fmla="*/ 584414 h 1655880"/>
              <a:gd name="connsiteX303" fmla="*/ 1412436 w 1734660"/>
              <a:gd name="connsiteY303" fmla="*/ 664104 h 1655880"/>
              <a:gd name="connsiteX304" fmla="*/ 1340618 w 1734660"/>
              <a:gd name="connsiteY304" fmla="*/ 671224 h 1655880"/>
              <a:gd name="connsiteX305" fmla="*/ 1383483 w 1734660"/>
              <a:gd name="connsiteY305" fmla="*/ 617729 h 1655880"/>
              <a:gd name="connsiteX306" fmla="*/ 1442844 w 1734660"/>
              <a:gd name="connsiteY306" fmla="*/ 536710 h 1655880"/>
              <a:gd name="connsiteX307" fmla="*/ 1495160 w 1734660"/>
              <a:gd name="connsiteY307" fmla="*/ 460454 h 1655880"/>
              <a:gd name="connsiteX308" fmla="*/ 1578360 w 1734660"/>
              <a:gd name="connsiteY308" fmla="*/ 460379 h 1655880"/>
              <a:gd name="connsiteX309" fmla="*/ 1661560 w 1734660"/>
              <a:gd name="connsiteY309" fmla="*/ 460304 h 1655880"/>
              <a:gd name="connsiteX310" fmla="*/ 1670158 w 1734660"/>
              <a:gd name="connsiteY310" fmla="*/ 452006 h 1655880"/>
              <a:gd name="connsiteX311" fmla="*/ 1678731 w 1734660"/>
              <a:gd name="connsiteY311" fmla="*/ 443734 h 1655880"/>
              <a:gd name="connsiteX312" fmla="*/ 1678731 w 1734660"/>
              <a:gd name="connsiteY312" fmla="*/ 257581 h 1655880"/>
              <a:gd name="connsiteX313" fmla="*/ 1678731 w 1734660"/>
              <a:gd name="connsiteY313" fmla="*/ 71428 h 1655880"/>
              <a:gd name="connsiteX314" fmla="*/ 1670158 w 1734660"/>
              <a:gd name="connsiteY314" fmla="*/ 63131 h 1655880"/>
              <a:gd name="connsiteX315" fmla="*/ 1661560 w 1734660"/>
              <a:gd name="connsiteY315" fmla="*/ 54833 h 1655880"/>
              <a:gd name="connsiteX316" fmla="*/ 1385013 w 1734660"/>
              <a:gd name="connsiteY316" fmla="*/ 54833 h 1655880"/>
              <a:gd name="connsiteX317" fmla="*/ 1108440 w 1734660"/>
              <a:gd name="connsiteY317" fmla="*/ 54833 h 1655880"/>
              <a:gd name="connsiteX318" fmla="*/ 1099867 w 1734660"/>
              <a:gd name="connsiteY318" fmla="*/ 63131 h 1655880"/>
              <a:gd name="connsiteX319" fmla="*/ 1091269 w 1734660"/>
              <a:gd name="connsiteY319" fmla="*/ 71428 h 1655880"/>
              <a:gd name="connsiteX320" fmla="*/ 1091269 w 1734660"/>
              <a:gd name="connsiteY320" fmla="*/ 257581 h 1655880"/>
              <a:gd name="connsiteX321" fmla="*/ 1091269 w 1734660"/>
              <a:gd name="connsiteY321" fmla="*/ 443734 h 1655880"/>
              <a:gd name="connsiteX322" fmla="*/ 1099867 w 1734660"/>
              <a:gd name="connsiteY322" fmla="*/ 452006 h 1655880"/>
              <a:gd name="connsiteX323" fmla="*/ 1108440 w 1734660"/>
              <a:gd name="connsiteY323" fmla="*/ 460304 h 1655880"/>
              <a:gd name="connsiteX324" fmla="*/ 1225757 w 1734660"/>
              <a:gd name="connsiteY324" fmla="*/ 460304 h 1655880"/>
              <a:gd name="connsiteX325" fmla="*/ 1343049 w 1734660"/>
              <a:gd name="connsiteY325" fmla="*/ 460304 h 1655880"/>
              <a:gd name="connsiteX326" fmla="*/ 1343049 w 1734660"/>
              <a:gd name="connsiteY326" fmla="*/ 533100 h 1655880"/>
              <a:gd name="connsiteX327" fmla="*/ 1351622 w 1734660"/>
              <a:gd name="connsiteY327" fmla="*/ 614220 h 1655880"/>
              <a:gd name="connsiteX328" fmla="*/ 1383483 w 1734660"/>
              <a:gd name="connsiteY328" fmla="*/ 617754 h 1655880"/>
              <a:gd name="connsiteX329" fmla="*/ 1290583 w 1734660"/>
              <a:gd name="connsiteY329" fmla="*/ 340355 h 1655880"/>
              <a:gd name="connsiteX330" fmla="*/ 1239971 w 1734660"/>
              <a:gd name="connsiteY330" fmla="*/ 291347 h 1655880"/>
              <a:gd name="connsiteX331" fmla="*/ 1260025 w 1734660"/>
              <a:gd name="connsiteY331" fmla="*/ 271970 h 1655880"/>
              <a:gd name="connsiteX332" fmla="*/ 1280079 w 1734660"/>
              <a:gd name="connsiteY332" fmla="*/ 252593 h 1655880"/>
              <a:gd name="connsiteX333" fmla="*/ 1311589 w 1734660"/>
              <a:gd name="connsiteY333" fmla="*/ 282900 h 1655880"/>
              <a:gd name="connsiteX334" fmla="*/ 1343099 w 1734660"/>
              <a:gd name="connsiteY334" fmla="*/ 313231 h 1655880"/>
              <a:gd name="connsiteX335" fmla="*/ 1444473 w 1734660"/>
              <a:gd name="connsiteY335" fmla="*/ 215317 h 1655880"/>
              <a:gd name="connsiteX336" fmla="*/ 1545847 w 1734660"/>
              <a:gd name="connsiteY336" fmla="*/ 117402 h 1655880"/>
              <a:gd name="connsiteX337" fmla="*/ 1565926 w 1734660"/>
              <a:gd name="connsiteY337" fmla="*/ 136805 h 1655880"/>
              <a:gd name="connsiteX338" fmla="*/ 1586005 w 1734660"/>
              <a:gd name="connsiteY338" fmla="*/ 156207 h 1655880"/>
              <a:gd name="connsiteX339" fmla="*/ 1465430 w 1734660"/>
              <a:gd name="connsiteY339" fmla="*/ 272772 h 1655880"/>
              <a:gd name="connsiteX340" fmla="*/ 1343024 w 1734660"/>
              <a:gd name="connsiteY340" fmla="*/ 389337 h 1655880"/>
              <a:gd name="connsiteX341" fmla="*/ 1290583 w 1734660"/>
              <a:gd name="connsiteY341" fmla="*/ 340355 h 165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734660" h="1655880">
                <a:moveTo>
                  <a:pt x="1119245" y="1599005"/>
                </a:moveTo>
                <a:lnTo>
                  <a:pt x="1119245" y="1541575"/>
                </a:lnTo>
                <a:lnTo>
                  <a:pt x="559608" y="1541575"/>
                </a:lnTo>
                <a:lnTo>
                  <a:pt x="-54" y="1541575"/>
                </a:lnTo>
                <a:lnTo>
                  <a:pt x="1124" y="1343063"/>
                </a:lnTo>
                <a:cubicBezTo>
                  <a:pt x="2277" y="1150042"/>
                  <a:pt x="2528" y="1143800"/>
                  <a:pt x="10073" y="1117680"/>
                </a:cubicBezTo>
                <a:cubicBezTo>
                  <a:pt x="31381" y="1044081"/>
                  <a:pt x="85603" y="973666"/>
                  <a:pt x="146868" y="940050"/>
                </a:cubicBezTo>
                <a:cubicBezTo>
                  <a:pt x="183116" y="920171"/>
                  <a:pt x="181587" y="923254"/>
                  <a:pt x="165167" y="903175"/>
                </a:cubicBezTo>
                <a:cubicBezTo>
                  <a:pt x="129922" y="860084"/>
                  <a:pt x="132880" y="808469"/>
                  <a:pt x="173114" y="764701"/>
                </a:cubicBezTo>
                <a:cubicBezTo>
                  <a:pt x="191137" y="745073"/>
                  <a:pt x="196126" y="735422"/>
                  <a:pt x="196126" y="720030"/>
                </a:cubicBezTo>
                <a:cubicBezTo>
                  <a:pt x="196126" y="707020"/>
                  <a:pt x="192265" y="700352"/>
                  <a:pt x="169253" y="673354"/>
                </a:cubicBezTo>
                <a:cubicBezTo>
                  <a:pt x="156619" y="658564"/>
                  <a:pt x="148522" y="645128"/>
                  <a:pt x="144837" y="632870"/>
                </a:cubicBezTo>
                <a:cubicBezTo>
                  <a:pt x="134735" y="599354"/>
                  <a:pt x="143885" y="561527"/>
                  <a:pt x="168175" y="536334"/>
                </a:cubicBezTo>
                <a:cubicBezTo>
                  <a:pt x="173540" y="530744"/>
                  <a:pt x="182038" y="520266"/>
                  <a:pt x="187026" y="513046"/>
                </a:cubicBezTo>
                <a:lnTo>
                  <a:pt x="196126" y="499911"/>
                </a:lnTo>
                <a:lnTo>
                  <a:pt x="196126" y="392420"/>
                </a:lnTo>
                <a:cubicBezTo>
                  <a:pt x="196126" y="326993"/>
                  <a:pt x="197630" y="277911"/>
                  <a:pt x="199987" y="267032"/>
                </a:cubicBezTo>
                <a:cubicBezTo>
                  <a:pt x="210390" y="218827"/>
                  <a:pt x="248668" y="171448"/>
                  <a:pt x="294868" y="149564"/>
                </a:cubicBezTo>
                <a:cubicBezTo>
                  <a:pt x="312164" y="141367"/>
                  <a:pt x="327080" y="130062"/>
                  <a:pt x="350819" y="107175"/>
                </a:cubicBezTo>
                <a:cubicBezTo>
                  <a:pt x="400979" y="58819"/>
                  <a:pt x="454198" y="28938"/>
                  <a:pt x="520903" y="11742"/>
                </a:cubicBezTo>
                <a:cubicBezTo>
                  <a:pt x="550358" y="4146"/>
                  <a:pt x="561488" y="3069"/>
                  <a:pt x="610470" y="3069"/>
                </a:cubicBezTo>
                <a:cubicBezTo>
                  <a:pt x="659728" y="3069"/>
                  <a:pt x="670608" y="4146"/>
                  <a:pt x="701391" y="11967"/>
                </a:cubicBezTo>
                <a:cubicBezTo>
                  <a:pt x="831467" y="45057"/>
                  <a:pt x="933568" y="143724"/>
                  <a:pt x="967786" y="269388"/>
                </a:cubicBezTo>
                <a:cubicBezTo>
                  <a:pt x="976459" y="301249"/>
                  <a:pt x="977060" y="308794"/>
                  <a:pt x="978540" y="401169"/>
                </a:cubicBezTo>
                <a:cubicBezTo>
                  <a:pt x="980269" y="508384"/>
                  <a:pt x="979768" y="505702"/>
                  <a:pt x="1003006" y="531245"/>
                </a:cubicBezTo>
                <a:cubicBezTo>
                  <a:pt x="1044843" y="577194"/>
                  <a:pt x="1045971" y="626828"/>
                  <a:pt x="1006264" y="673354"/>
                </a:cubicBezTo>
                <a:cubicBezTo>
                  <a:pt x="983227" y="700352"/>
                  <a:pt x="979392" y="707020"/>
                  <a:pt x="979392" y="720030"/>
                </a:cubicBezTo>
                <a:cubicBezTo>
                  <a:pt x="979392" y="735422"/>
                  <a:pt x="984355" y="745073"/>
                  <a:pt x="1002379" y="764701"/>
                </a:cubicBezTo>
                <a:cubicBezTo>
                  <a:pt x="1042362" y="808193"/>
                  <a:pt x="1045545" y="860134"/>
                  <a:pt x="1010852" y="902548"/>
                </a:cubicBezTo>
                <a:cubicBezTo>
                  <a:pt x="1003156" y="911949"/>
                  <a:pt x="996864" y="920296"/>
                  <a:pt x="996864" y="921099"/>
                </a:cubicBezTo>
                <a:cubicBezTo>
                  <a:pt x="996864" y="923104"/>
                  <a:pt x="1035794" y="944211"/>
                  <a:pt x="1037022" y="942857"/>
                </a:cubicBezTo>
                <a:cubicBezTo>
                  <a:pt x="1037549" y="942280"/>
                  <a:pt x="1042312" y="933432"/>
                  <a:pt x="1047601" y="923229"/>
                </a:cubicBezTo>
                <a:cubicBezTo>
                  <a:pt x="1072192" y="875726"/>
                  <a:pt x="1123707" y="819349"/>
                  <a:pt x="1168954" y="790470"/>
                </a:cubicBezTo>
                <a:cubicBezTo>
                  <a:pt x="1201016" y="770015"/>
                  <a:pt x="1244257" y="751540"/>
                  <a:pt x="1281859" y="742240"/>
                </a:cubicBezTo>
                <a:cubicBezTo>
                  <a:pt x="1447932" y="701179"/>
                  <a:pt x="1619646" y="778137"/>
                  <a:pt x="1697030" y="928293"/>
                </a:cubicBezTo>
                <a:cubicBezTo>
                  <a:pt x="1723602" y="979857"/>
                  <a:pt x="1732902" y="1021094"/>
                  <a:pt x="1732476" y="1085417"/>
                </a:cubicBezTo>
                <a:cubicBezTo>
                  <a:pt x="1732200" y="1126578"/>
                  <a:pt x="1730721" y="1139639"/>
                  <a:pt x="1723176" y="1167188"/>
                </a:cubicBezTo>
                <a:cubicBezTo>
                  <a:pt x="1707659" y="1223791"/>
                  <a:pt x="1672038" y="1286987"/>
                  <a:pt x="1636943" y="1320101"/>
                </a:cubicBezTo>
                <a:lnTo>
                  <a:pt x="1622780" y="1333437"/>
                </a:lnTo>
                <a:lnTo>
                  <a:pt x="1622780" y="1494949"/>
                </a:lnTo>
                <a:cubicBezTo>
                  <a:pt x="1622780" y="1583788"/>
                  <a:pt x="1621602" y="1656410"/>
                  <a:pt x="1620173" y="1656360"/>
                </a:cubicBezTo>
                <a:cubicBezTo>
                  <a:pt x="1618719" y="1656310"/>
                  <a:pt x="1562066" y="1642798"/>
                  <a:pt x="1494283" y="1626353"/>
                </a:cubicBezTo>
                <a:lnTo>
                  <a:pt x="1371025" y="1596448"/>
                </a:lnTo>
                <a:lnTo>
                  <a:pt x="1247767" y="1626353"/>
                </a:lnTo>
                <a:cubicBezTo>
                  <a:pt x="1179958" y="1642798"/>
                  <a:pt x="1123331" y="1656310"/>
                  <a:pt x="1121877" y="1656360"/>
                </a:cubicBezTo>
                <a:cubicBezTo>
                  <a:pt x="1120448" y="1656410"/>
                  <a:pt x="1119245" y="1630615"/>
                  <a:pt x="1119245" y="1599005"/>
                </a:cubicBezTo>
                <a:close/>
                <a:moveTo>
                  <a:pt x="1468939" y="1564386"/>
                </a:moveTo>
                <a:lnTo>
                  <a:pt x="1566828" y="1588050"/>
                </a:lnTo>
                <a:lnTo>
                  <a:pt x="1566828" y="1483443"/>
                </a:lnTo>
                <a:cubicBezTo>
                  <a:pt x="1566828" y="1425887"/>
                  <a:pt x="1565650" y="1379387"/>
                  <a:pt x="1564222" y="1380113"/>
                </a:cubicBezTo>
                <a:cubicBezTo>
                  <a:pt x="1519902" y="1401947"/>
                  <a:pt x="1486863" y="1415233"/>
                  <a:pt x="1459414" y="1422302"/>
                </a:cubicBezTo>
                <a:cubicBezTo>
                  <a:pt x="1429558" y="1429998"/>
                  <a:pt x="1418327" y="1431101"/>
                  <a:pt x="1371025" y="1431101"/>
                </a:cubicBezTo>
                <a:cubicBezTo>
                  <a:pt x="1296473" y="1431101"/>
                  <a:pt x="1263860" y="1422503"/>
                  <a:pt x="1177828" y="1380113"/>
                </a:cubicBezTo>
                <a:cubicBezTo>
                  <a:pt x="1176374" y="1379387"/>
                  <a:pt x="1175196" y="1425887"/>
                  <a:pt x="1175196" y="1483443"/>
                </a:cubicBezTo>
                <a:lnTo>
                  <a:pt x="1175196" y="1588050"/>
                </a:lnTo>
                <a:lnTo>
                  <a:pt x="1273110" y="1564386"/>
                </a:lnTo>
                <a:lnTo>
                  <a:pt x="1371025" y="1540722"/>
                </a:lnTo>
                <a:close/>
                <a:moveTo>
                  <a:pt x="224077" y="1298292"/>
                </a:moveTo>
                <a:lnTo>
                  <a:pt x="224077" y="1109056"/>
                </a:lnTo>
                <a:lnTo>
                  <a:pt x="252052" y="1109056"/>
                </a:lnTo>
                <a:lnTo>
                  <a:pt x="280028" y="1109056"/>
                </a:lnTo>
                <a:lnTo>
                  <a:pt x="280028" y="1298292"/>
                </a:lnTo>
                <a:lnTo>
                  <a:pt x="280028" y="1487503"/>
                </a:lnTo>
                <a:lnTo>
                  <a:pt x="391930" y="1487503"/>
                </a:lnTo>
                <a:lnTo>
                  <a:pt x="503832" y="1487503"/>
                </a:lnTo>
                <a:lnTo>
                  <a:pt x="503832" y="1359608"/>
                </a:lnTo>
                <a:lnTo>
                  <a:pt x="503832" y="1231712"/>
                </a:lnTo>
                <a:lnTo>
                  <a:pt x="524814" y="1214090"/>
                </a:lnTo>
                <a:lnTo>
                  <a:pt x="545796" y="1196442"/>
                </a:lnTo>
                <a:lnTo>
                  <a:pt x="521229" y="1170497"/>
                </a:lnTo>
                <a:cubicBezTo>
                  <a:pt x="454348" y="1099831"/>
                  <a:pt x="410981" y="1021394"/>
                  <a:pt x="379471" y="914054"/>
                </a:cubicBezTo>
                <a:cubicBezTo>
                  <a:pt x="378569" y="911021"/>
                  <a:pt x="373455" y="911598"/>
                  <a:pt x="359743" y="916235"/>
                </a:cubicBezTo>
                <a:cubicBezTo>
                  <a:pt x="234755" y="958625"/>
                  <a:pt x="205251" y="969354"/>
                  <a:pt x="186851" y="979231"/>
                </a:cubicBezTo>
                <a:cubicBezTo>
                  <a:pt x="139022" y="1004850"/>
                  <a:pt x="104704" y="1040747"/>
                  <a:pt x="80464" y="1090481"/>
                </a:cubicBezTo>
                <a:cubicBezTo>
                  <a:pt x="57426" y="1137759"/>
                  <a:pt x="56248" y="1149490"/>
                  <a:pt x="56248" y="1328549"/>
                </a:cubicBezTo>
                <a:lnTo>
                  <a:pt x="56248" y="1487503"/>
                </a:lnTo>
                <a:lnTo>
                  <a:pt x="140175" y="1487503"/>
                </a:lnTo>
                <a:lnTo>
                  <a:pt x="224077" y="1487503"/>
                </a:lnTo>
                <a:close/>
                <a:moveTo>
                  <a:pt x="895465" y="1311804"/>
                </a:moveTo>
                <a:lnTo>
                  <a:pt x="895465" y="1136104"/>
                </a:lnTo>
                <a:lnTo>
                  <a:pt x="923440" y="1136104"/>
                </a:lnTo>
                <a:lnTo>
                  <a:pt x="951416" y="1136104"/>
                </a:lnTo>
                <a:lnTo>
                  <a:pt x="951416" y="1311804"/>
                </a:lnTo>
                <a:lnTo>
                  <a:pt x="951416" y="1487503"/>
                </a:lnTo>
                <a:lnTo>
                  <a:pt x="1035343" y="1487503"/>
                </a:lnTo>
                <a:lnTo>
                  <a:pt x="1119245" y="1487503"/>
                </a:lnTo>
                <a:lnTo>
                  <a:pt x="1119245" y="1410470"/>
                </a:lnTo>
                <a:lnTo>
                  <a:pt x="1119245" y="1333437"/>
                </a:lnTo>
                <a:lnTo>
                  <a:pt x="1105106" y="1320101"/>
                </a:lnTo>
                <a:cubicBezTo>
                  <a:pt x="1064823" y="1282098"/>
                  <a:pt x="1028198" y="1212987"/>
                  <a:pt x="1013810" y="1147911"/>
                </a:cubicBezTo>
                <a:cubicBezTo>
                  <a:pt x="1008094" y="1122016"/>
                  <a:pt x="1007969" y="1041925"/>
                  <a:pt x="1013609" y="1018236"/>
                </a:cubicBezTo>
                <a:cubicBezTo>
                  <a:pt x="1018848" y="996327"/>
                  <a:pt x="1017946" y="994923"/>
                  <a:pt x="988466" y="979130"/>
                </a:cubicBezTo>
                <a:cubicBezTo>
                  <a:pt x="970217" y="969354"/>
                  <a:pt x="940687" y="958600"/>
                  <a:pt x="815750" y="916235"/>
                </a:cubicBezTo>
                <a:cubicBezTo>
                  <a:pt x="802038" y="911598"/>
                  <a:pt x="796899" y="911021"/>
                  <a:pt x="796021" y="914054"/>
                </a:cubicBezTo>
                <a:cubicBezTo>
                  <a:pt x="755888" y="1050724"/>
                  <a:pt x="698658" y="1138887"/>
                  <a:pt x="591694" y="1228830"/>
                </a:cubicBezTo>
                <a:lnTo>
                  <a:pt x="559758" y="1255702"/>
                </a:lnTo>
                <a:lnTo>
                  <a:pt x="559758" y="1371590"/>
                </a:lnTo>
                <a:lnTo>
                  <a:pt x="559758" y="1487503"/>
                </a:lnTo>
                <a:lnTo>
                  <a:pt x="727612" y="1487503"/>
                </a:lnTo>
                <a:lnTo>
                  <a:pt x="895440" y="1487503"/>
                </a:lnTo>
                <a:close/>
                <a:moveTo>
                  <a:pt x="615734" y="1406410"/>
                </a:moveTo>
                <a:lnTo>
                  <a:pt x="615734" y="1379387"/>
                </a:lnTo>
                <a:lnTo>
                  <a:pt x="643710" y="1379387"/>
                </a:lnTo>
                <a:lnTo>
                  <a:pt x="671661" y="1379387"/>
                </a:lnTo>
                <a:lnTo>
                  <a:pt x="671661" y="1406410"/>
                </a:lnTo>
                <a:lnTo>
                  <a:pt x="671661" y="1433432"/>
                </a:lnTo>
                <a:lnTo>
                  <a:pt x="643710" y="1433432"/>
                </a:lnTo>
                <a:lnTo>
                  <a:pt x="615734" y="1433432"/>
                </a:lnTo>
                <a:close/>
                <a:moveTo>
                  <a:pt x="615734" y="1298292"/>
                </a:moveTo>
                <a:lnTo>
                  <a:pt x="615734" y="1271244"/>
                </a:lnTo>
                <a:lnTo>
                  <a:pt x="643710" y="1271244"/>
                </a:lnTo>
                <a:lnTo>
                  <a:pt x="671661" y="1271244"/>
                </a:lnTo>
                <a:lnTo>
                  <a:pt x="671661" y="1298292"/>
                </a:lnTo>
                <a:lnTo>
                  <a:pt x="671661" y="1325316"/>
                </a:lnTo>
                <a:lnTo>
                  <a:pt x="643710" y="1325316"/>
                </a:lnTo>
                <a:lnTo>
                  <a:pt x="615734" y="1325316"/>
                </a:lnTo>
                <a:close/>
                <a:moveTo>
                  <a:pt x="1427452" y="1374022"/>
                </a:moveTo>
                <a:cubicBezTo>
                  <a:pt x="1489445" y="1362666"/>
                  <a:pt x="1545020" y="1333964"/>
                  <a:pt x="1589640" y="1290246"/>
                </a:cubicBezTo>
                <a:cubicBezTo>
                  <a:pt x="1661885" y="1219480"/>
                  <a:pt x="1692794" y="1119259"/>
                  <a:pt x="1672113" y="1022898"/>
                </a:cubicBezTo>
                <a:cubicBezTo>
                  <a:pt x="1659529" y="964315"/>
                  <a:pt x="1631854" y="914832"/>
                  <a:pt x="1587961" y="872392"/>
                </a:cubicBezTo>
                <a:cubicBezTo>
                  <a:pt x="1467410" y="755902"/>
                  <a:pt x="1274288" y="755827"/>
                  <a:pt x="1153863" y="872166"/>
                </a:cubicBezTo>
                <a:cubicBezTo>
                  <a:pt x="1034190" y="987829"/>
                  <a:pt x="1033538" y="1173781"/>
                  <a:pt x="1152384" y="1290246"/>
                </a:cubicBezTo>
                <a:cubicBezTo>
                  <a:pt x="1224354" y="1360736"/>
                  <a:pt x="1327858" y="1392271"/>
                  <a:pt x="1427452" y="1374022"/>
                </a:cubicBezTo>
                <a:close/>
                <a:moveTo>
                  <a:pt x="1321566" y="1320201"/>
                </a:moveTo>
                <a:cubicBezTo>
                  <a:pt x="1241074" y="1304710"/>
                  <a:pt x="1169254" y="1247229"/>
                  <a:pt x="1138296" y="1173480"/>
                </a:cubicBezTo>
                <a:cubicBezTo>
                  <a:pt x="1078710" y="1031597"/>
                  <a:pt x="1168703" y="872392"/>
                  <a:pt x="1324775" y="843539"/>
                </a:cubicBezTo>
                <a:cubicBezTo>
                  <a:pt x="1497441" y="811603"/>
                  <a:pt x="1650831" y="960129"/>
                  <a:pt x="1617741" y="1127205"/>
                </a:cubicBezTo>
                <a:cubicBezTo>
                  <a:pt x="1591570" y="1259362"/>
                  <a:pt x="1457910" y="1346447"/>
                  <a:pt x="1321566" y="1320201"/>
                </a:cubicBezTo>
                <a:close/>
                <a:moveTo>
                  <a:pt x="1413890" y="1266306"/>
                </a:moveTo>
                <a:cubicBezTo>
                  <a:pt x="1511705" y="1246277"/>
                  <a:pt x="1578761" y="1151722"/>
                  <a:pt x="1564121" y="1054509"/>
                </a:cubicBezTo>
                <a:cubicBezTo>
                  <a:pt x="1541084" y="901846"/>
                  <a:pt x="1347311" y="839729"/>
                  <a:pt x="1233553" y="948547"/>
                </a:cubicBezTo>
                <a:cubicBezTo>
                  <a:pt x="1138447" y="1039569"/>
                  <a:pt x="1164968" y="1195038"/>
                  <a:pt x="1285143" y="1251015"/>
                </a:cubicBezTo>
                <a:cubicBezTo>
                  <a:pt x="1328159" y="1271044"/>
                  <a:pt x="1367716" y="1275757"/>
                  <a:pt x="1413890" y="1266306"/>
                </a:cubicBezTo>
                <a:close/>
                <a:moveTo>
                  <a:pt x="1307177" y="1211884"/>
                </a:moveTo>
                <a:cubicBezTo>
                  <a:pt x="1286145" y="1201305"/>
                  <a:pt x="1259122" y="1176488"/>
                  <a:pt x="1259122" y="1167740"/>
                </a:cubicBezTo>
                <a:cubicBezTo>
                  <a:pt x="1259122" y="1164055"/>
                  <a:pt x="1262456" y="1151546"/>
                  <a:pt x="1266492" y="1139940"/>
                </a:cubicBezTo>
                <a:cubicBezTo>
                  <a:pt x="1270553" y="1128333"/>
                  <a:pt x="1273311" y="1118381"/>
                  <a:pt x="1272634" y="1117855"/>
                </a:cubicBezTo>
                <a:cubicBezTo>
                  <a:pt x="1271932" y="1117328"/>
                  <a:pt x="1262306" y="1110385"/>
                  <a:pt x="1251251" y="1102438"/>
                </a:cubicBezTo>
                <a:cubicBezTo>
                  <a:pt x="1234230" y="1090205"/>
                  <a:pt x="1231147" y="1086345"/>
                  <a:pt x="1231172" y="1077396"/>
                </a:cubicBezTo>
                <a:cubicBezTo>
                  <a:pt x="1231197" y="1063383"/>
                  <a:pt x="1236762" y="1044131"/>
                  <a:pt x="1247666" y="1020367"/>
                </a:cubicBezTo>
                <a:lnTo>
                  <a:pt x="1256591" y="1000939"/>
                </a:lnTo>
                <a:lnTo>
                  <a:pt x="1283889" y="1000939"/>
                </a:lnTo>
                <a:lnTo>
                  <a:pt x="1311163" y="1000939"/>
                </a:lnTo>
                <a:lnTo>
                  <a:pt x="1319084" y="977175"/>
                </a:lnTo>
                <a:cubicBezTo>
                  <a:pt x="1328284" y="949575"/>
                  <a:pt x="1330139" y="948573"/>
                  <a:pt x="1371025" y="948573"/>
                </a:cubicBezTo>
                <a:cubicBezTo>
                  <a:pt x="1411885" y="948573"/>
                  <a:pt x="1413765" y="949575"/>
                  <a:pt x="1422940" y="977175"/>
                </a:cubicBezTo>
                <a:lnTo>
                  <a:pt x="1430861" y="1000939"/>
                </a:lnTo>
                <a:lnTo>
                  <a:pt x="1456330" y="1000939"/>
                </a:lnTo>
                <a:lnTo>
                  <a:pt x="1481799" y="1000939"/>
                </a:lnTo>
                <a:lnTo>
                  <a:pt x="1490773" y="1016983"/>
                </a:lnTo>
                <a:cubicBezTo>
                  <a:pt x="1501101" y="1035482"/>
                  <a:pt x="1510877" y="1065589"/>
                  <a:pt x="1510877" y="1078850"/>
                </a:cubicBezTo>
                <a:cubicBezTo>
                  <a:pt x="1510877" y="1086019"/>
                  <a:pt x="1506591" y="1091058"/>
                  <a:pt x="1490773" y="1102438"/>
                </a:cubicBezTo>
                <a:cubicBezTo>
                  <a:pt x="1479718" y="1110385"/>
                  <a:pt x="1470118" y="1117328"/>
                  <a:pt x="1469416" y="1117855"/>
                </a:cubicBezTo>
                <a:cubicBezTo>
                  <a:pt x="1468714" y="1118381"/>
                  <a:pt x="1471471" y="1128333"/>
                  <a:pt x="1475532" y="1139940"/>
                </a:cubicBezTo>
                <a:cubicBezTo>
                  <a:pt x="1479593" y="1151546"/>
                  <a:pt x="1482927" y="1164055"/>
                  <a:pt x="1482927" y="1167740"/>
                </a:cubicBezTo>
                <a:cubicBezTo>
                  <a:pt x="1482927" y="1182229"/>
                  <a:pt x="1423216" y="1224844"/>
                  <a:pt x="1411986" y="1218377"/>
                </a:cubicBezTo>
                <a:cubicBezTo>
                  <a:pt x="1409654" y="1217023"/>
                  <a:pt x="1399426" y="1209904"/>
                  <a:pt x="1389274" y="1202559"/>
                </a:cubicBezTo>
                <a:lnTo>
                  <a:pt x="1370824" y="1189223"/>
                </a:lnTo>
                <a:lnTo>
                  <a:pt x="1349943" y="1204890"/>
                </a:lnTo>
                <a:cubicBezTo>
                  <a:pt x="1338462" y="1213513"/>
                  <a:pt x="1327883" y="1220507"/>
                  <a:pt x="1326429" y="1220407"/>
                </a:cubicBezTo>
                <a:cubicBezTo>
                  <a:pt x="1325001" y="1220332"/>
                  <a:pt x="1316327" y="1216497"/>
                  <a:pt x="1307177" y="1211884"/>
                </a:cubicBezTo>
                <a:close/>
                <a:moveTo>
                  <a:pt x="1347912" y="1139263"/>
                </a:moveTo>
                <a:lnTo>
                  <a:pt x="1371301" y="1122141"/>
                </a:lnTo>
                <a:lnTo>
                  <a:pt x="1395190" y="1139263"/>
                </a:lnTo>
                <a:cubicBezTo>
                  <a:pt x="1408325" y="1148663"/>
                  <a:pt x="1419982" y="1156359"/>
                  <a:pt x="1421060" y="1156359"/>
                </a:cubicBezTo>
                <a:cubicBezTo>
                  <a:pt x="1422163" y="1156359"/>
                  <a:pt x="1419205" y="1145455"/>
                  <a:pt x="1414517" y="1132119"/>
                </a:cubicBezTo>
                <a:cubicBezTo>
                  <a:pt x="1409829" y="1118782"/>
                  <a:pt x="1405994" y="1105221"/>
                  <a:pt x="1405994" y="1101987"/>
                </a:cubicBezTo>
                <a:cubicBezTo>
                  <a:pt x="1405994" y="1098628"/>
                  <a:pt x="1415821" y="1089102"/>
                  <a:pt x="1428781" y="1079928"/>
                </a:cubicBezTo>
                <a:cubicBezTo>
                  <a:pt x="1441289" y="1071028"/>
                  <a:pt x="1451016" y="1062155"/>
                  <a:pt x="1450339" y="1060224"/>
                </a:cubicBezTo>
                <a:cubicBezTo>
                  <a:pt x="1449687" y="1058269"/>
                  <a:pt x="1435975" y="1055938"/>
                  <a:pt x="1419907" y="1055010"/>
                </a:cubicBezTo>
                <a:lnTo>
                  <a:pt x="1390653" y="1053305"/>
                </a:lnTo>
                <a:lnTo>
                  <a:pt x="1381879" y="1027110"/>
                </a:lnTo>
                <a:cubicBezTo>
                  <a:pt x="1377041" y="1012721"/>
                  <a:pt x="1372053" y="1000939"/>
                  <a:pt x="1370799" y="1000939"/>
                </a:cubicBezTo>
                <a:cubicBezTo>
                  <a:pt x="1369521" y="1000939"/>
                  <a:pt x="1364908" y="1013097"/>
                  <a:pt x="1360521" y="1027962"/>
                </a:cubicBezTo>
                <a:lnTo>
                  <a:pt x="1352575" y="1054985"/>
                </a:lnTo>
                <a:lnTo>
                  <a:pt x="1321591" y="1054985"/>
                </a:lnTo>
                <a:cubicBezTo>
                  <a:pt x="1298404" y="1054985"/>
                  <a:pt x="1290607" y="1056113"/>
                  <a:pt x="1290607" y="1059422"/>
                </a:cubicBezTo>
                <a:cubicBezTo>
                  <a:pt x="1290607" y="1061854"/>
                  <a:pt x="1300835" y="1071078"/>
                  <a:pt x="1313319" y="1079953"/>
                </a:cubicBezTo>
                <a:cubicBezTo>
                  <a:pt x="1326229" y="1089127"/>
                  <a:pt x="1336055" y="1098628"/>
                  <a:pt x="1336055" y="1101987"/>
                </a:cubicBezTo>
                <a:cubicBezTo>
                  <a:pt x="1336055" y="1105221"/>
                  <a:pt x="1332220" y="1118782"/>
                  <a:pt x="1327507" y="1132119"/>
                </a:cubicBezTo>
                <a:cubicBezTo>
                  <a:pt x="1322819" y="1145455"/>
                  <a:pt x="1320238" y="1156359"/>
                  <a:pt x="1321742" y="1156359"/>
                </a:cubicBezTo>
                <a:cubicBezTo>
                  <a:pt x="1323271" y="1156359"/>
                  <a:pt x="1335053" y="1148663"/>
                  <a:pt x="1347912" y="1139263"/>
                </a:cubicBezTo>
                <a:close/>
                <a:moveTo>
                  <a:pt x="611874" y="1134751"/>
                </a:moveTo>
                <a:cubicBezTo>
                  <a:pt x="624057" y="1122869"/>
                  <a:pt x="633457" y="1111638"/>
                  <a:pt x="632755" y="1109783"/>
                </a:cubicBezTo>
                <a:cubicBezTo>
                  <a:pt x="630650" y="1104344"/>
                  <a:pt x="589664" y="1048493"/>
                  <a:pt x="587759" y="1048493"/>
                </a:cubicBezTo>
                <a:cubicBezTo>
                  <a:pt x="585829" y="1048493"/>
                  <a:pt x="544843" y="1104344"/>
                  <a:pt x="542762" y="1109783"/>
                </a:cubicBezTo>
                <a:cubicBezTo>
                  <a:pt x="541559" y="1112942"/>
                  <a:pt x="583497" y="1156359"/>
                  <a:pt x="587759" y="1156359"/>
                </a:cubicBezTo>
                <a:cubicBezTo>
                  <a:pt x="588812" y="1156359"/>
                  <a:pt x="599666" y="1146633"/>
                  <a:pt x="611874" y="1134751"/>
                </a:cubicBezTo>
                <a:close/>
                <a:moveTo>
                  <a:pt x="529903" y="1032876"/>
                </a:moveTo>
                <a:lnTo>
                  <a:pt x="553567" y="1000588"/>
                </a:lnTo>
                <a:lnTo>
                  <a:pt x="513834" y="942882"/>
                </a:lnTo>
                <a:cubicBezTo>
                  <a:pt x="491975" y="911147"/>
                  <a:pt x="473149" y="883722"/>
                  <a:pt x="471946" y="881943"/>
                </a:cubicBezTo>
                <a:cubicBezTo>
                  <a:pt x="468662" y="876954"/>
                  <a:pt x="433893" y="889964"/>
                  <a:pt x="433893" y="896206"/>
                </a:cubicBezTo>
                <a:cubicBezTo>
                  <a:pt x="433893" y="906083"/>
                  <a:pt x="448332" y="951706"/>
                  <a:pt x="460590" y="980484"/>
                </a:cubicBezTo>
                <a:cubicBezTo>
                  <a:pt x="470417" y="1003621"/>
                  <a:pt x="503180" y="1065137"/>
                  <a:pt x="505662" y="1065137"/>
                </a:cubicBezTo>
                <a:cubicBezTo>
                  <a:pt x="505963" y="1065137"/>
                  <a:pt x="516893" y="1050623"/>
                  <a:pt x="529903" y="1032876"/>
                </a:cubicBezTo>
                <a:close/>
                <a:moveTo>
                  <a:pt x="701441" y="1009086"/>
                </a:moveTo>
                <a:cubicBezTo>
                  <a:pt x="718136" y="975896"/>
                  <a:pt x="736410" y="926338"/>
                  <a:pt x="739970" y="904629"/>
                </a:cubicBezTo>
                <a:lnTo>
                  <a:pt x="742176" y="891118"/>
                </a:lnTo>
                <a:lnTo>
                  <a:pt x="723927" y="884901"/>
                </a:lnTo>
                <a:cubicBezTo>
                  <a:pt x="712872" y="881140"/>
                  <a:pt x="704850" y="879962"/>
                  <a:pt x="703547" y="881943"/>
                </a:cubicBezTo>
                <a:cubicBezTo>
                  <a:pt x="702368" y="883722"/>
                  <a:pt x="683517" y="911147"/>
                  <a:pt x="661658" y="942882"/>
                </a:cubicBezTo>
                <a:lnTo>
                  <a:pt x="621926" y="1000588"/>
                </a:lnTo>
                <a:lnTo>
                  <a:pt x="645715" y="1033051"/>
                </a:lnTo>
                <a:lnTo>
                  <a:pt x="669530" y="1065489"/>
                </a:lnTo>
                <a:lnTo>
                  <a:pt x="677752" y="1052629"/>
                </a:lnTo>
                <a:cubicBezTo>
                  <a:pt x="682289" y="1045585"/>
                  <a:pt x="692943" y="1025982"/>
                  <a:pt x="701441" y="1009086"/>
                </a:cubicBezTo>
                <a:close/>
                <a:moveTo>
                  <a:pt x="624458" y="899089"/>
                </a:moveTo>
                <a:cubicBezTo>
                  <a:pt x="643710" y="871013"/>
                  <a:pt x="660004" y="846597"/>
                  <a:pt x="660706" y="844792"/>
                </a:cubicBezTo>
                <a:cubicBezTo>
                  <a:pt x="661408" y="843013"/>
                  <a:pt x="659227" y="835642"/>
                  <a:pt x="655868" y="828473"/>
                </a:cubicBezTo>
                <a:lnTo>
                  <a:pt x="649776" y="815413"/>
                </a:lnTo>
                <a:lnTo>
                  <a:pt x="637117" y="821504"/>
                </a:lnTo>
                <a:cubicBezTo>
                  <a:pt x="630148" y="824838"/>
                  <a:pt x="616211" y="830403"/>
                  <a:pt x="606108" y="833838"/>
                </a:cubicBezTo>
                <a:cubicBezTo>
                  <a:pt x="588260" y="839904"/>
                  <a:pt x="587257" y="839904"/>
                  <a:pt x="569384" y="833838"/>
                </a:cubicBezTo>
                <a:cubicBezTo>
                  <a:pt x="559307" y="830403"/>
                  <a:pt x="545344" y="824838"/>
                  <a:pt x="538376" y="821504"/>
                </a:cubicBezTo>
                <a:lnTo>
                  <a:pt x="525716" y="815413"/>
                </a:lnTo>
                <a:lnTo>
                  <a:pt x="519625" y="828473"/>
                </a:lnTo>
                <a:cubicBezTo>
                  <a:pt x="516266" y="835642"/>
                  <a:pt x="514110" y="843013"/>
                  <a:pt x="514787" y="844792"/>
                </a:cubicBezTo>
                <a:cubicBezTo>
                  <a:pt x="517093" y="850683"/>
                  <a:pt x="585954" y="950102"/>
                  <a:pt x="587759" y="950102"/>
                </a:cubicBezTo>
                <a:cubicBezTo>
                  <a:pt x="588711" y="950102"/>
                  <a:pt x="605231" y="927140"/>
                  <a:pt x="624458" y="899089"/>
                </a:cubicBezTo>
                <a:close/>
                <a:moveTo>
                  <a:pt x="354654" y="861061"/>
                </a:moveTo>
                <a:cubicBezTo>
                  <a:pt x="406269" y="843489"/>
                  <a:pt x="451716" y="826342"/>
                  <a:pt x="455677" y="822958"/>
                </a:cubicBezTo>
                <a:cubicBezTo>
                  <a:pt x="459638" y="819549"/>
                  <a:pt x="466005" y="810048"/>
                  <a:pt x="469790" y="801826"/>
                </a:cubicBezTo>
                <a:lnTo>
                  <a:pt x="476709" y="786886"/>
                </a:lnTo>
                <a:lnTo>
                  <a:pt x="466657" y="780168"/>
                </a:lnTo>
                <a:cubicBezTo>
                  <a:pt x="448207" y="767834"/>
                  <a:pt x="390075" y="708900"/>
                  <a:pt x="376112" y="688370"/>
                </a:cubicBezTo>
                <a:cubicBezTo>
                  <a:pt x="356785" y="659918"/>
                  <a:pt x="337057" y="621289"/>
                  <a:pt x="328709" y="595469"/>
                </a:cubicBezTo>
                <a:cubicBezTo>
                  <a:pt x="312666" y="545910"/>
                  <a:pt x="310886" y="531797"/>
                  <a:pt x="309056" y="440876"/>
                </a:cubicBezTo>
                <a:lnTo>
                  <a:pt x="307251" y="352162"/>
                </a:lnTo>
                <a:lnTo>
                  <a:pt x="358490" y="352162"/>
                </a:lnTo>
                <a:cubicBezTo>
                  <a:pt x="454298" y="352162"/>
                  <a:pt x="508570" y="333336"/>
                  <a:pt x="565799" y="280242"/>
                </a:cubicBezTo>
                <a:lnTo>
                  <a:pt x="587759" y="259862"/>
                </a:lnTo>
                <a:lnTo>
                  <a:pt x="609718" y="280242"/>
                </a:lnTo>
                <a:cubicBezTo>
                  <a:pt x="666697" y="333110"/>
                  <a:pt x="721596" y="352162"/>
                  <a:pt x="817003" y="352162"/>
                </a:cubicBezTo>
                <a:lnTo>
                  <a:pt x="868241" y="352162"/>
                </a:lnTo>
                <a:lnTo>
                  <a:pt x="866462" y="440876"/>
                </a:lnTo>
                <a:cubicBezTo>
                  <a:pt x="864632" y="531797"/>
                  <a:pt x="862827" y="545910"/>
                  <a:pt x="846783" y="595469"/>
                </a:cubicBezTo>
                <a:cubicBezTo>
                  <a:pt x="838436" y="621289"/>
                  <a:pt x="818708" y="659918"/>
                  <a:pt x="799381" y="688370"/>
                </a:cubicBezTo>
                <a:cubicBezTo>
                  <a:pt x="785443" y="708900"/>
                  <a:pt x="727311" y="767834"/>
                  <a:pt x="708836" y="780168"/>
                </a:cubicBezTo>
                <a:lnTo>
                  <a:pt x="698784" y="786886"/>
                </a:lnTo>
                <a:lnTo>
                  <a:pt x="705703" y="801826"/>
                </a:lnTo>
                <a:cubicBezTo>
                  <a:pt x="709513" y="810048"/>
                  <a:pt x="715780" y="819499"/>
                  <a:pt x="719640" y="822808"/>
                </a:cubicBezTo>
                <a:cubicBezTo>
                  <a:pt x="726258" y="828473"/>
                  <a:pt x="926950" y="899365"/>
                  <a:pt x="936777" y="899490"/>
                </a:cubicBezTo>
                <a:cubicBezTo>
                  <a:pt x="941815" y="899565"/>
                  <a:pt x="954700" y="886029"/>
                  <a:pt x="970066" y="864471"/>
                </a:cubicBezTo>
                <a:cubicBezTo>
                  <a:pt x="978389" y="852839"/>
                  <a:pt x="979768" y="848001"/>
                  <a:pt x="978490" y="834790"/>
                </a:cubicBezTo>
                <a:cubicBezTo>
                  <a:pt x="977236" y="821805"/>
                  <a:pt x="973751" y="815288"/>
                  <a:pt x="958736" y="797916"/>
                </a:cubicBezTo>
                <a:cubicBezTo>
                  <a:pt x="935473" y="771043"/>
                  <a:pt x="927602" y="755952"/>
                  <a:pt x="924819" y="732915"/>
                </a:cubicBezTo>
                <a:cubicBezTo>
                  <a:pt x="921485" y="705591"/>
                  <a:pt x="928329" y="683281"/>
                  <a:pt x="947430" y="659216"/>
                </a:cubicBezTo>
                <a:cubicBezTo>
                  <a:pt x="981272" y="616576"/>
                  <a:pt x="980119" y="618681"/>
                  <a:pt x="978464" y="601510"/>
                </a:cubicBezTo>
                <a:cubicBezTo>
                  <a:pt x="977411" y="590506"/>
                  <a:pt x="973827" y="581882"/>
                  <a:pt x="966808" y="573509"/>
                </a:cubicBezTo>
                <a:cubicBezTo>
                  <a:pt x="961218" y="566842"/>
                  <a:pt x="951592" y="555310"/>
                  <a:pt x="945375" y="547865"/>
                </a:cubicBezTo>
                <a:cubicBezTo>
                  <a:pt x="925923" y="524527"/>
                  <a:pt x="923440" y="509587"/>
                  <a:pt x="923440" y="416210"/>
                </a:cubicBezTo>
                <a:cubicBezTo>
                  <a:pt x="923440" y="356749"/>
                  <a:pt x="921912" y="324337"/>
                  <a:pt x="918126" y="303330"/>
                </a:cubicBezTo>
                <a:cubicBezTo>
                  <a:pt x="896042" y="180949"/>
                  <a:pt x="795044" y="83235"/>
                  <a:pt x="666346" y="59722"/>
                </a:cubicBezTo>
                <a:cubicBezTo>
                  <a:pt x="559608" y="40244"/>
                  <a:pt x="439458" y="82709"/>
                  <a:pt x="371124" y="164103"/>
                </a:cubicBezTo>
                <a:cubicBezTo>
                  <a:pt x="359743" y="177690"/>
                  <a:pt x="348488" y="187617"/>
                  <a:pt x="343148" y="188820"/>
                </a:cubicBezTo>
                <a:cubicBezTo>
                  <a:pt x="324974" y="192932"/>
                  <a:pt x="293063" y="211933"/>
                  <a:pt x="281557" y="225520"/>
                </a:cubicBezTo>
                <a:cubicBezTo>
                  <a:pt x="275014" y="233215"/>
                  <a:pt x="266115" y="247003"/>
                  <a:pt x="261753" y="256152"/>
                </a:cubicBezTo>
                <a:cubicBezTo>
                  <a:pt x="254082" y="272170"/>
                  <a:pt x="253757" y="277009"/>
                  <a:pt x="252052" y="392721"/>
                </a:cubicBezTo>
                <a:cubicBezTo>
                  <a:pt x="250072" y="529215"/>
                  <a:pt x="250448" y="527285"/>
                  <a:pt x="219113" y="561377"/>
                </a:cubicBezTo>
                <a:cubicBezTo>
                  <a:pt x="200814" y="581281"/>
                  <a:pt x="196126" y="590606"/>
                  <a:pt x="196126" y="607000"/>
                </a:cubicBezTo>
                <a:cubicBezTo>
                  <a:pt x="196126" y="618180"/>
                  <a:pt x="198106" y="621439"/>
                  <a:pt x="228087" y="659216"/>
                </a:cubicBezTo>
                <a:cubicBezTo>
                  <a:pt x="247189" y="683281"/>
                  <a:pt x="254007" y="705591"/>
                  <a:pt x="250698" y="732915"/>
                </a:cubicBezTo>
                <a:cubicBezTo>
                  <a:pt x="247891" y="755952"/>
                  <a:pt x="240020" y="771043"/>
                  <a:pt x="216857" y="797816"/>
                </a:cubicBezTo>
                <a:cubicBezTo>
                  <a:pt x="202794" y="814084"/>
                  <a:pt x="198332" y="822081"/>
                  <a:pt x="197028" y="833362"/>
                </a:cubicBezTo>
                <a:cubicBezTo>
                  <a:pt x="195048" y="850257"/>
                  <a:pt x="198106" y="856875"/>
                  <a:pt x="220016" y="883221"/>
                </a:cubicBezTo>
                <a:lnTo>
                  <a:pt x="235933" y="902373"/>
                </a:lnTo>
                <a:lnTo>
                  <a:pt x="248367" y="897685"/>
                </a:lnTo>
                <a:cubicBezTo>
                  <a:pt x="255210" y="895103"/>
                  <a:pt x="303040" y="878634"/>
                  <a:pt x="354654" y="861061"/>
                </a:cubicBezTo>
                <a:close/>
                <a:moveTo>
                  <a:pt x="627140" y="765453"/>
                </a:moveTo>
                <a:cubicBezTo>
                  <a:pt x="692968" y="732589"/>
                  <a:pt x="743028" y="683832"/>
                  <a:pt x="775616" y="620812"/>
                </a:cubicBezTo>
                <a:cubicBezTo>
                  <a:pt x="801035" y="571629"/>
                  <a:pt x="811538" y="522697"/>
                  <a:pt x="811538" y="453611"/>
                </a:cubicBezTo>
                <a:lnTo>
                  <a:pt x="811538" y="407261"/>
                </a:lnTo>
                <a:lnTo>
                  <a:pt x="775691" y="405205"/>
                </a:lnTo>
                <a:cubicBezTo>
                  <a:pt x="713649" y="401696"/>
                  <a:pt x="659051" y="383672"/>
                  <a:pt x="610044" y="350557"/>
                </a:cubicBezTo>
                <a:lnTo>
                  <a:pt x="587759" y="335517"/>
                </a:lnTo>
                <a:lnTo>
                  <a:pt x="565449" y="350557"/>
                </a:lnTo>
                <a:cubicBezTo>
                  <a:pt x="516441" y="383672"/>
                  <a:pt x="461844" y="401696"/>
                  <a:pt x="399801" y="405205"/>
                </a:cubicBezTo>
                <a:lnTo>
                  <a:pt x="363954" y="407261"/>
                </a:lnTo>
                <a:lnTo>
                  <a:pt x="363954" y="453611"/>
                </a:lnTo>
                <a:cubicBezTo>
                  <a:pt x="363954" y="522697"/>
                  <a:pt x="374483" y="571629"/>
                  <a:pt x="399901" y="620812"/>
                </a:cubicBezTo>
                <a:cubicBezTo>
                  <a:pt x="422061" y="663678"/>
                  <a:pt x="453471" y="701305"/>
                  <a:pt x="491574" y="730609"/>
                </a:cubicBezTo>
                <a:cubicBezTo>
                  <a:pt x="517519" y="750563"/>
                  <a:pt x="575275" y="781145"/>
                  <a:pt x="587182" y="781246"/>
                </a:cubicBezTo>
                <a:cubicBezTo>
                  <a:pt x="591694" y="781271"/>
                  <a:pt x="609668" y="774177"/>
                  <a:pt x="627140" y="765453"/>
                </a:cubicBezTo>
                <a:close/>
                <a:moveTo>
                  <a:pt x="1340592" y="671198"/>
                </a:moveTo>
                <a:cubicBezTo>
                  <a:pt x="1332521" y="668316"/>
                  <a:pt x="1319686" y="659943"/>
                  <a:pt x="1312041" y="652548"/>
                </a:cubicBezTo>
                <a:cubicBezTo>
                  <a:pt x="1291560" y="632769"/>
                  <a:pt x="1287098" y="616400"/>
                  <a:pt x="1287098" y="561076"/>
                </a:cubicBezTo>
                <a:lnTo>
                  <a:pt x="1287098" y="514375"/>
                </a:lnTo>
                <a:lnTo>
                  <a:pt x="1195300" y="514350"/>
                </a:lnTo>
                <a:cubicBezTo>
                  <a:pt x="1106285" y="514325"/>
                  <a:pt x="1102976" y="514074"/>
                  <a:pt x="1085829" y="506353"/>
                </a:cubicBezTo>
                <a:cubicBezTo>
                  <a:pt x="1065174" y="497053"/>
                  <a:pt x="1045144" y="475946"/>
                  <a:pt x="1039379" y="457396"/>
                </a:cubicBezTo>
                <a:cubicBezTo>
                  <a:pt x="1033513" y="438445"/>
                  <a:pt x="1033689" y="76216"/>
                  <a:pt x="1039579" y="56914"/>
                </a:cubicBezTo>
                <a:cubicBezTo>
                  <a:pt x="1045270" y="38364"/>
                  <a:pt x="1074223" y="10363"/>
                  <a:pt x="1093450" y="4874"/>
                </a:cubicBezTo>
                <a:cubicBezTo>
                  <a:pt x="1113554" y="-867"/>
                  <a:pt x="1655944" y="-1043"/>
                  <a:pt x="1675748" y="4698"/>
                </a:cubicBezTo>
                <a:cubicBezTo>
                  <a:pt x="1694924" y="10263"/>
                  <a:pt x="1716759" y="29615"/>
                  <a:pt x="1726385" y="49594"/>
                </a:cubicBezTo>
                <a:lnTo>
                  <a:pt x="1734607" y="66665"/>
                </a:lnTo>
                <a:lnTo>
                  <a:pt x="1734607" y="257581"/>
                </a:lnTo>
                <a:lnTo>
                  <a:pt x="1734607" y="448497"/>
                </a:lnTo>
                <a:lnTo>
                  <a:pt x="1726360" y="465393"/>
                </a:lnTo>
                <a:cubicBezTo>
                  <a:pt x="1716408" y="485697"/>
                  <a:pt x="1703372" y="498106"/>
                  <a:pt x="1682240" y="507356"/>
                </a:cubicBezTo>
                <a:cubicBezTo>
                  <a:pt x="1668102" y="513523"/>
                  <a:pt x="1659354" y="514249"/>
                  <a:pt x="1596358" y="514299"/>
                </a:cubicBezTo>
                <a:lnTo>
                  <a:pt x="1526219" y="514375"/>
                </a:lnTo>
                <a:lnTo>
                  <a:pt x="1477462" y="584414"/>
                </a:lnTo>
                <a:cubicBezTo>
                  <a:pt x="1436677" y="642997"/>
                  <a:pt x="1426073" y="656032"/>
                  <a:pt x="1412436" y="664104"/>
                </a:cubicBezTo>
                <a:cubicBezTo>
                  <a:pt x="1392257" y="676087"/>
                  <a:pt x="1362552" y="679045"/>
                  <a:pt x="1340618" y="671224"/>
                </a:cubicBezTo>
                <a:close/>
                <a:moveTo>
                  <a:pt x="1383483" y="617729"/>
                </a:moveTo>
                <a:cubicBezTo>
                  <a:pt x="1387344" y="615122"/>
                  <a:pt x="1414066" y="578674"/>
                  <a:pt x="1442844" y="536710"/>
                </a:cubicBezTo>
                <a:lnTo>
                  <a:pt x="1495160" y="460454"/>
                </a:lnTo>
                <a:lnTo>
                  <a:pt x="1578360" y="460379"/>
                </a:lnTo>
                <a:lnTo>
                  <a:pt x="1661560" y="460304"/>
                </a:lnTo>
                <a:lnTo>
                  <a:pt x="1670158" y="452006"/>
                </a:lnTo>
                <a:lnTo>
                  <a:pt x="1678731" y="443734"/>
                </a:lnTo>
                <a:lnTo>
                  <a:pt x="1678731" y="257581"/>
                </a:lnTo>
                <a:lnTo>
                  <a:pt x="1678731" y="71428"/>
                </a:lnTo>
                <a:lnTo>
                  <a:pt x="1670158" y="63131"/>
                </a:lnTo>
                <a:lnTo>
                  <a:pt x="1661560" y="54833"/>
                </a:lnTo>
                <a:lnTo>
                  <a:pt x="1385013" y="54833"/>
                </a:lnTo>
                <a:lnTo>
                  <a:pt x="1108440" y="54833"/>
                </a:lnTo>
                <a:lnTo>
                  <a:pt x="1099867" y="63131"/>
                </a:lnTo>
                <a:lnTo>
                  <a:pt x="1091269" y="71428"/>
                </a:lnTo>
                <a:lnTo>
                  <a:pt x="1091269" y="257581"/>
                </a:lnTo>
                <a:lnTo>
                  <a:pt x="1091269" y="443734"/>
                </a:lnTo>
                <a:lnTo>
                  <a:pt x="1099867" y="452006"/>
                </a:lnTo>
                <a:lnTo>
                  <a:pt x="1108440" y="460304"/>
                </a:lnTo>
                <a:lnTo>
                  <a:pt x="1225757" y="460304"/>
                </a:lnTo>
                <a:lnTo>
                  <a:pt x="1343049" y="460304"/>
                </a:lnTo>
                <a:lnTo>
                  <a:pt x="1343049" y="533100"/>
                </a:lnTo>
                <a:cubicBezTo>
                  <a:pt x="1343049" y="605897"/>
                  <a:pt x="1343049" y="605922"/>
                  <a:pt x="1351622" y="614220"/>
                </a:cubicBezTo>
                <a:cubicBezTo>
                  <a:pt x="1361273" y="623520"/>
                  <a:pt x="1373030" y="624823"/>
                  <a:pt x="1383483" y="617754"/>
                </a:cubicBezTo>
                <a:close/>
                <a:moveTo>
                  <a:pt x="1290583" y="340355"/>
                </a:moveTo>
                <a:lnTo>
                  <a:pt x="1239971" y="291347"/>
                </a:lnTo>
                <a:lnTo>
                  <a:pt x="1260025" y="271970"/>
                </a:lnTo>
                <a:lnTo>
                  <a:pt x="1280079" y="252593"/>
                </a:lnTo>
                <a:lnTo>
                  <a:pt x="1311589" y="282900"/>
                </a:lnTo>
                <a:lnTo>
                  <a:pt x="1343099" y="313231"/>
                </a:lnTo>
                <a:lnTo>
                  <a:pt x="1444473" y="215317"/>
                </a:lnTo>
                <a:lnTo>
                  <a:pt x="1545847" y="117402"/>
                </a:lnTo>
                <a:lnTo>
                  <a:pt x="1565926" y="136805"/>
                </a:lnTo>
                <a:lnTo>
                  <a:pt x="1586005" y="156207"/>
                </a:lnTo>
                <a:lnTo>
                  <a:pt x="1465430" y="272772"/>
                </a:lnTo>
                <a:cubicBezTo>
                  <a:pt x="1399101" y="336895"/>
                  <a:pt x="1344027" y="389337"/>
                  <a:pt x="1343024" y="389337"/>
                </a:cubicBezTo>
                <a:cubicBezTo>
                  <a:pt x="1342022" y="389337"/>
                  <a:pt x="1318433" y="367302"/>
                  <a:pt x="1290583" y="340355"/>
                </a:cubicBezTo>
                <a:close/>
              </a:path>
            </a:pathLst>
          </a:custGeom>
          <a:solidFill>
            <a:srgbClr val="509AAF"/>
          </a:solidFill>
          <a:ln w="3424" cap="flat">
            <a:noFill/>
            <a:prstDash val="solid"/>
            <a:miter/>
          </a:ln>
        </p:spPr>
        <p:txBody>
          <a:bodyPr vert="horz" rtlCol="0" anchor="t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5" name="Rectangle: Top Corners Snipped 54">
            <a:extLst>
              <a:ext uri="{FF2B5EF4-FFF2-40B4-BE49-F238E27FC236}">
                <a16:creationId xmlns:a16="http://schemas.microsoft.com/office/drawing/2014/main" id="{49B07060-56A3-4DDF-85C6-0754E58B3E69}"/>
              </a:ext>
            </a:extLst>
          </p:cNvPr>
          <p:cNvSpPr/>
          <p:nvPr/>
        </p:nvSpPr>
        <p:spPr bwMode="auto">
          <a:xfrm>
            <a:off x="6289852" y="2054355"/>
            <a:ext cx="3200272" cy="738664"/>
          </a:xfrm>
          <a:prstGeom prst="snip2SameRect">
            <a:avLst>
              <a:gd name="adj1" fmla="val 17791"/>
              <a:gd name="adj2" fmla="val 18546"/>
            </a:avLst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1993CB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</p:txBody>
      </p:sp>
      <p:sp>
        <p:nvSpPr>
          <p:cNvPr id="56" name="Rectangle: Top Corners Snipped 55">
            <a:extLst>
              <a:ext uri="{FF2B5EF4-FFF2-40B4-BE49-F238E27FC236}">
                <a16:creationId xmlns:a16="http://schemas.microsoft.com/office/drawing/2014/main" id="{504B2A99-1191-4322-AB73-643320FE8CBC}"/>
              </a:ext>
            </a:extLst>
          </p:cNvPr>
          <p:cNvSpPr/>
          <p:nvPr/>
        </p:nvSpPr>
        <p:spPr bwMode="auto">
          <a:xfrm>
            <a:off x="6289803" y="3203737"/>
            <a:ext cx="3200272" cy="738664"/>
          </a:xfrm>
          <a:prstGeom prst="snip2SameRect">
            <a:avLst>
              <a:gd name="adj1" fmla="val 17791"/>
              <a:gd name="adj2" fmla="val 18546"/>
            </a:avLst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1993C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7" name="Rectangle: Top Corners Snipped 56">
            <a:extLst>
              <a:ext uri="{FF2B5EF4-FFF2-40B4-BE49-F238E27FC236}">
                <a16:creationId xmlns:a16="http://schemas.microsoft.com/office/drawing/2014/main" id="{75DA3D69-B76E-401B-9066-9DDE5002C6CE}"/>
              </a:ext>
            </a:extLst>
          </p:cNvPr>
          <p:cNvSpPr/>
          <p:nvPr/>
        </p:nvSpPr>
        <p:spPr bwMode="auto">
          <a:xfrm>
            <a:off x="6289803" y="4353119"/>
            <a:ext cx="3200272" cy="738664"/>
          </a:xfrm>
          <a:prstGeom prst="snip2SameRect">
            <a:avLst>
              <a:gd name="adj1" fmla="val 17791"/>
              <a:gd name="adj2" fmla="val 18546"/>
            </a:avLst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1993C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F3274E7-C28A-4537-A07E-9134849ED8D7}"/>
              </a:ext>
            </a:extLst>
          </p:cNvPr>
          <p:cNvSpPr/>
          <p:nvPr/>
        </p:nvSpPr>
        <p:spPr bwMode="auto">
          <a:xfrm>
            <a:off x="5300331" y="5462719"/>
            <a:ext cx="822960" cy="822960"/>
          </a:xfrm>
          <a:prstGeom prst="ellipse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993C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9" name="Rectangle: Top Corners Snipped 58">
            <a:extLst>
              <a:ext uri="{FF2B5EF4-FFF2-40B4-BE49-F238E27FC236}">
                <a16:creationId xmlns:a16="http://schemas.microsoft.com/office/drawing/2014/main" id="{C006C493-096F-4356-816A-D7D494C7DAE6}"/>
              </a:ext>
            </a:extLst>
          </p:cNvPr>
          <p:cNvSpPr/>
          <p:nvPr/>
        </p:nvSpPr>
        <p:spPr bwMode="auto">
          <a:xfrm>
            <a:off x="6289444" y="5502500"/>
            <a:ext cx="3200272" cy="738664"/>
          </a:xfrm>
          <a:prstGeom prst="snip2SameRect">
            <a:avLst>
              <a:gd name="adj1" fmla="val 17791"/>
              <a:gd name="adj2" fmla="val 18546"/>
            </a:avLst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1993C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F0F7C5B-6E86-4354-9AAA-317D4C5AF4A7}"/>
              </a:ext>
            </a:extLst>
          </p:cNvPr>
          <p:cNvSpPr txBox="1"/>
          <p:nvPr/>
        </p:nvSpPr>
        <p:spPr>
          <a:xfrm>
            <a:off x="6158030" y="2196116"/>
            <a:ext cx="3404411" cy="519543"/>
          </a:xfrm>
          <a:prstGeom prst="rect">
            <a:avLst/>
          </a:prstGeom>
          <a:noFill/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 panose="020B0403050203000203" pitchFamily="34" charset="0"/>
              </a:rPr>
              <a:t>Overall business performanc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17388E2-BC95-4073-B251-CACD6F06F320}"/>
              </a:ext>
            </a:extLst>
          </p:cNvPr>
          <p:cNvSpPr txBox="1"/>
          <p:nvPr/>
        </p:nvSpPr>
        <p:spPr>
          <a:xfrm>
            <a:off x="6603534" y="3277875"/>
            <a:ext cx="2513401" cy="738664"/>
          </a:xfrm>
          <a:prstGeom prst="rect">
            <a:avLst/>
          </a:prstGeom>
          <a:noFill/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 panose="020B0403050203000203" pitchFamily="34" charset="0"/>
              </a:rPr>
              <a:t>Daily task management and productivit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B06BEA4-063A-493F-8037-56F7441E7292}"/>
              </a:ext>
            </a:extLst>
          </p:cNvPr>
          <p:cNvSpPr txBox="1"/>
          <p:nvPr/>
        </p:nvSpPr>
        <p:spPr>
          <a:xfrm>
            <a:off x="6342882" y="4487302"/>
            <a:ext cx="3093396" cy="553998"/>
          </a:xfrm>
          <a:prstGeom prst="rect">
            <a:avLst/>
          </a:prstGeom>
          <a:noFill/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 panose="020B0403050203000203" pitchFamily="34" charset="0"/>
              </a:rPr>
              <a:t>Company image and repu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DDAFCF3-4551-4445-8588-9F91447C9DEC}"/>
              </a:ext>
            </a:extLst>
          </p:cNvPr>
          <p:cNvSpPr txBox="1"/>
          <p:nvPr/>
        </p:nvSpPr>
        <p:spPr>
          <a:xfrm>
            <a:off x="6700140" y="5630855"/>
            <a:ext cx="2305456" cy="553998"/>
          </a:xfrm>
          <a:prstGeom prst="rect">
            <a:avLst/>
          </a:prstGeom>
          <a:noFill/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 panose="020B0403050203000203" pitchFamily="34" charset="0"/>
              </a:rPr>
              <a:t>Team dynamic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055B8EBD-D4C3-4C1D-AB2B-5E3FFCFBCDA1}"/>
              </a:ext>
            </a:extLst>
          </p:cNvPr>
          <p:cNvSpPr/>
          <p:nvPr/>
        </p:nvSpPr>
        <p:spPr>
          <a:xfrm>
            <a:off x="5483211" y="5645599"/>
            <a:ext cx="457200" cy="457200"/>
          </a:xfrm>
          <a:custGeom>
            <a:avLst/>
            <a:gdLst>
              <a:gd name="connsiteX0" fmla="*/ 620375 w 1699080"/>
              <a:gd name="connsiteY0" fmla="*/ 1497722 h 1498873"/>
              <a:gd name="connsiteX1" fmla="*/ 603781 w 1699080"/>
              <a:gd name="connsiteY1" fmla="*/ 1456561 h 1498873"/>
              <a:gd name="connsiteX2" fmla="*/ 611025 w 1699080"/>
              <a:gd name="connsiteY2" fmla="*/ 1414548 h 1498873"/>
              <a:gd name="connsiteX3" fmla="*/ 620977 w 1699080"/>
              <a:gd name="connsiteY3" fmla="*/ 1403167 h 1498873"/>
              <a:gd name="connsiteX4" fmla="*/ 623684 w 1699080"/>
              <a:gd name="connsiteY4" fmla="*/ 1354260 h 1498873"/>
              <a:gd name="connsiteX5" fmla="*/ 623684 w 1699080"/>
              <a:gd name="connsiteY5" fmla="*/ 1305352 h 1498873"/>
              <a:gd name="connsiteX6" fmla="*/ 597313 w 1699080"/>
              <a:gd name="connsiteY6" fmla="*/ 1271311 h 1498873"/>
              <a:gd name="connsiteX7" fmla="*/ 540234 w 1699080"/>
              <a:gd name="connsiteY7" fmla="*/ 1174624 h 1498873"/>
              <a:gd name="connsiteX8" fmla="*/ 531535 w 1699080"/>
              <a:gd name="connsiteY8" fmla="*/ 1035874 h 1498873"/>
              <a:gd name="connsiteX9" fmla="*/ 535697 w 1699080"/>
              <a:gd name="connsiteY9" fmla="*/ 906450 h 1498873"/>
              <a:gd name="connsiteX10" fmla="*/ 567683 w 1699080"/>
              <a:gd name="connsiteY10" fmla="*/ 870302 h 1498873"/>
              <a:gd name="connsiteX11" fmla="*/ 580367 w 1699080"/>
              <a:gd name="connsiteY11" fmla="*/ 862206 h 1498873"/>
              <a:gd name="connsiteX12" fmla="*/ 512359 w 1699080"/>
              <a:gd name="connsiteY12" fmla="*/ 804450 h 1498873"/>
              <a:gd name="connsiteX13" fmla="*/ 442294 w 1699080"/>
              <a:gd name="connsiteY13" fmla="*/ 739449 h 1498873"/>
              <a:gd name="connsiteX14" fmla="*/ 472576 w 1699080"/>
              <a:gd name="connsiteY14" fmla="*/ 713804 h 1498873"/>
              <a:gd name="connsiteX15" fmla="*/ 562043 w 1699080"/>
              <a:gd name="connsiteY15" fmla="*/ 786075 h 1498873"/>
              <a:gd name="connsiteX16" fmla="*/ 646897 w 1699080"/>
              <a:gd name="connsiteY16" fmla="*/ 855613 h 1498873"/>
              <a:gd name="connsiteX17" fmla="*/ 650256 w 1699080"/>
              <a:gd name="connsiteY17" fmla="*/ 819966 h 1498873"/>
              <a:gd name="connsiteX18" fmla="*/ 650256 w 1699080"/>
              <a:gd name="connsiteY18" fmla="*/ 784345 h 1498873"/>
              <a:gd name="connsiteX19" fmla="*/ 594932 w 1699080"/>
              <a:gd name="connsiteY19" fmla="*/ 737193 h 1498873"/>
              <a:gd name="connsiteX20" fmla="*/ 539582 w 1699080"/>
              <a:gd name="connsiteY20" fmla="*/ 680615 h 1498873"/>
              <a:gd name="connsiteX21" fmla="*/ 563070 w 1699080"/>
              <a:gd name="connsiteY21" fmla="*/ 659408 h 1498873"/>
              <a:gd name="connsiteX22" fmla="*/ 613181 w 1699080"/>
              <a:gd name="connsiteY22" fmla="*/ 692372 h 1498873"/>
              <a:gd name="connsiteX23" fmla="*/ 651911 w 1699080"/>
              <a:gd name="connsiteY23" fmla="*/ 725311 h 1498873"/>
              <a:gd name="connsiteX24" fmla="*/ 653816 w 1699080"/>
              <a:gd name="connsiteY24" fmla="*/ 705959 h 1498873"/>
              <a:gd name="connsiteX25" fmla="*/ 663141 w 1699080"/>
              <a:gd name="connsiteY25" fmla="*/ 675451 h 1498873"/>
              <a:gd name="connsiteX26" fmla="*/ 670611 w 1699080"/>
              <a:gd name="connsiteY26" fmla="*/ 664321 h 1498873"/>
              <a:gd name="connsiteX27" fmla="*/ 643839 w 1699080"/>
              <a:gd name="connsiteY27" fmla="*/ 640582 h 1498873"/>
              <a:gd name="connsiteX28" fmla="*/ 625213 w 1699080"/>
              <a:gd name="connsiteY28" fmla="*/ 593404 h 1498873"/>
              <a:gd name="connsiteX29" fmla="*/ 685727 w 1699080"/>
              <a:gd name="connsiteY29" fmla="*/ 616291 h 1498873"/>
              <a:gd name="connsiteX30" fmla="*/ 712900 w 1699080"/>
              <a:gd name="connsiteY30" fmla="*/ 639855 h 1498873"/>
              <a:gd name="connsiteX31" fmla="*/ 732202 w 1699080"/>
              <a:gd name="connsiteY31" fmla="*/ 640306 h 1498873"/>
              <a:gd name="connsiteX32" fmla="*/ 759827 w 1699080"/>
              <a:gd name="connsiteY32" fmla="*/ 642788 h 1498873"/>
              <a:gd name="connsiteX33" fmla="*/ 774492 w 1699080"/>
              <a:gd name="connsiteY33" fmla="*/ 632560 h 1498873"/>
              <a:gd name="connsiteX34" fmla="*/ 780884 w 1699080"/>
              <a:gd name="connsiteY34" fmla="*/ 620252 h 1498873"/>
              <a:gd name="connsiteX35" fmla="*/ 740826 w 1699080"/>
              <a:gd name="connsiteY35" fmla="*/ 586060 h 1498873"/>
              <a:gd name="connsiteX36" fmla="*/ 697007 w 1699080"/>
              <a:gd name="connsiteY36" fmla="*/ 545675 h 1498873"/>
              <a:gd name="connsiteX37" fmla="*/ 720872 w 1699080"/>
              <a:gd name="connsiteY37" fmla="*/ 515945 h 1498873"/>
              <a:gd name="connsiteX38" fmla="*/ 776497 w 1699080"/>
              <a:gd name="connsiteY38" fmla="*/ 555853 h 1498873"/>
              <a:gd name="connsiteX39" fmla="*/ 822772 w 1699080"/>
              <a:gd name="connsiteY39" fmla="*/ 595761 h 1498873"/>
              <a:gd name="connsiteX40" fmla="*/ 845233 w 1699080"/>
              <a:gd name="connsiteY40" fmla="*/ 596262 h 1498873"/>
              <a:gd name="connsiteX41" fmla="*/ 903214 w 1699080"/>
              <a:gd name="connsiteY41" fmla="*/ 617419 h 1498873"/>
              <a:gd name="connsiteX42" fmla="*/ 925750 w 1699080"/>
              <a:gd name="connsiteY42" fmla="*/ 657152 h 1498873"/>
              <a:gd name="connsiteX43" fmla="*/ 934348 w 1699080"/>
              <a:gd name="connsiteY43" fmla="*/ 659357 h 1498873"/>
              <a:gd name="connsiteX44" fmla="*/ 957937 w 1699080"/>
              <a:gd name="connsiteY44" fmla="*/ 656500 h 1498873"/>
              <a:gd name="connsiteX45" fmla="*/ 970998 w 1699080"/>
              <a:gd name="connsiteY45" fmla="*/ 651862 h 1498873"/>
              <a:gd name="connsiteX46" fmla="*/ 968992 w 1699080"/>
              <a:gd name="connsiteY46" fmla="*/ 644843 h 1498873"/>
              <a:gd name="connsiteX47" fmla="*/ 841172 w 1699080"/>
              <a:gd name="connsiteY47" fmla="*/ 533643 h 1498873"/>
              <a:gd name="connsiteX48" fmla="*/ 711271 w 1699080"/>
              <a:gd name="connsiteY48" fmla="*/ 417404 h 1498873"/>
              <a:gd name="connsiteX49" fmla="*/ 734408 w 1699080"/>
              <a:gd name="connsiteY49" fmla="*/ 393514 h 1498873"/>
              <a:gd name="connsiteX50" fmla="*/ 784494 w 1699080"/>
              <a:gd name="connsiteY50" fmla="*/ 424724 h 1498873"/>
              <a:gd name="connsiteX51" fmla="*/ 853881 w 1699080"/>
              <a:gd name="connsiteY51" fmla="*/ 456309 h 1498873"/>
              <a:gd name="connsiteX52" fmla="*/ 871353 w 1699080"/>
              <a:gd name="connsiteY52" fmla="*/ 414045 h 1498873"/>
              <a:gd name="connsiteX53" fmla="*/ 705029 w 1699080"/>
              <a:gd name="connsiteY53" fmla="*/ 270833 h 1498873"/>
              <a:gd name="connsiteX54" fmla="*/ 630327 w 1699080"/>
              <a:gd name="connsiteY54" fmla="*/ 235262 h 1498873"/>
              <a:gd name="connsiteX55" fmla="*/ 568911 w 1699080"/>
              <a:gd name="connsiteY55" fmla="*/ 224583 h 1498873"/>
              <a:gd name="connsiteX56" fmla="*/ 510879 w 1699080"/>
              <a:gd name="connsiteY56" fmla="*/ 215509 h 1498873"/>
              <a:gd name="connsiteX57" fmla="*/ 464930 w 1699080"/>
              <a:gd name="connsiteY57" fmla="*/ 181166 h 1498873"/>
              <a:gd name="connsiteX58" fmla="*/ 427229 w 1699080"/>
              <a:gd name="connsiteY58" fmla="*/ 148452 h 1498873"/>
              <a:gd name="connsiteX59" fmla="*/ 371904 w 1699080"/>
              <a:gd name="connsiteY59" fmla="*/ 198462 h 1498873"/>
              <a:gd name="connsiteX60" fmla="*/ 242755 w 1699080"/>
              <a:gd name="connsiteY60" fmla="*/ 315930 h 1498873"/>
              <a:gd name="connsiteX61" fmla="*/ 168931 w 1699080"/>
              <a:gd name="connsiteY61" fmla="*/ 383362 h 1498873"/>
              <a:gd name="connsiteX62" fmla="*/ 208864 w 1699080"/>
              <a:gd name="connsiteY62" fmla="*/ 416702 h 1498873"/>
              <a:gd name="connsiteX63" fmla="*/ 258097 w 1699080"/>
              <a:gd name="connsiteY63" fmla="*/ 473481 h 1498873"/>
              <a:gd name="connsiteX64" fmla="*/ 367217 w 1699080"/>
              <a:gd name="connsiteY64" fmla="*/ 619124 h 1498873"/>
              <a:gd name="connsiteX65" fmla="*/ 413216 w 1699080"/>
              <a:gd name="connsiteY65" fmla="*/ 671791 h 1498873"/>
              <a:gd name="connsiteX66" fmla="*/ 392284 w 1699080"/>
              <a:gd name="connsiteY66" fmla="*/ 690442 h 1498873"/>
              <a:gd name="connsiteX67" fmla="*/ 349168 w 1699080"/>
              <a:gd name="connsiteY67" fmla="*/ 665048 h 1498873"/>
              <a:gd name="connsiteX68" fmla="*/ 212148 w 1699080"/>
              <a:gd name="connsiteY68" fmla="*/ 490802 h 1498873"/>
              <a:gd name="connsiteX69" fmla="*/ 165522 w 1699080"/>
              <a:gd name="connsiteY69" fmla="*/ 440291 h 1498873"/>
              <a:gd name="connsiteX70" fmla="*/ 116790 w 1699080"/>
              <a:gd name="connsiteY70" fmla="*/ 407527 h 1498873"/>
              <a:gd name="connsiteX71" fmla="*/ 41085 w 1699080"/>
              <a:gd name="connsiteY71" fmla="*/ 361177 h 1498873"/>
              <a:gd name="connsiteX72" fmla="*/ 6392 w 1699080"/>
              <a:gd name="connsiteY72" fmla="*/ 304048 h 1498873"/>
              <a:gd name="connsiteX73" fmla="*/ 24917 w 1699080"/>
              <a:gd name="connsiteY73" fmla="*/ 296327 h 1498873"/>
              <a:gd name="connsiteX74" fmla="*/ 75579 w 1699080"/>
              <a:gd name="connsiteY74" fmla="*/ 329993 h 1498873"/>
              <a:gd name="connsiteX75" fmla="*/ 118043 w 1699080"/>
              <a:gd name="connsiteY75" fmla="*/ 363684 h 1498873"/>
              <a:gd name="connsiteX76" fmla="*/ 205730 w 1699080"/>
              <a:gd name="connsiteY76" fmla="*/ 286801 h 1498873"/>
              <a:gd name="connsiteX77" fmla="*/ 345608 w 1699080"/>
              <a:gd name="connsiteY77" fmla="*/ 159608 h 1498873"/>
              <a:gd name="connsiteX78" fmla="*/ 401233 w 1699080"/>
              <a:gd name="connsiteY78" fmla="*/ 105085 h 1498873"/>
              <a:gd name="connsiteX79" fmla="*/ 361401 w 1699080"/>
              <a:gd name="connsiteY79" fmla="*/ 66080 h 1498873"/>
              <a:gd name="connsiteX80" fmla="*/ 329715 w 1699080"/>
              <a:gd name="connsiteY80" fmla="*/ 7772 h 1498873"/>
              <a:gd name="connsiteX81" fmla="*/ 395568 w 1699080"/>
              <a:gd name="connsiteY81" fmla="*/ 34595 h 1498873"/>
              <a:gd name="connsiteX82" fmla="*/ 451018 w 1699080"/>
              <a:gd name="connsiteY82" fmla="*/ 98718 h 1498873"/>
              <a:gd name="connsiteX83" fmla="*/ 488444 w 1699080"/>
              <a:gd name="connsiteY83" fmla="*/ 140431 h 1498873"/>
              <a:gd name="connsiteX84" fmla="*/ 525845 w 1699080"/>
              <a:gd name="connsiteY84" fmla="*/ 173320 h 1498873"/>
              <a:gd name="connsiteX85" fmla="*/ 573925 w 1699080"/>
              <a:gd name="connsiteY85" fmla="*/ 180715 h 1498873"/>
              <a:gd name="connsiteX86" fmla="*/ 803595 w 1699080"/>
              <a:gd name="connsiteY86" fmla="*/ 291915 h 1498873"/>
              <a:gd name="connsiteX87" fmla="*/ 869649 w 1699080"/>
              <a:gd name="connsiteY87" fmla="*/ 346111 h 1498873"/>
              <a:gd name="connsiteX88" fmla="*/ 934399 w 1699080"/>
              <a:gd name="connsiteY88" fmla="*/ 296051 h 1498873"/>
              <a:gd name="connsiteX89" fmla="*/ 1141157 w 1699080"/>
              <a:gd name="connsiteY89" fmla="*/ 180263 h 1498873"/>
              <a:gd name="connsiteX90" fmla="*/ 1214204 w 1699080"/>
              <a:gd name="connsiteY90" fmla="*/ 139202 h 1498873"/>
              <a:gd name="connsiteX91" fmla="*/ 1253811 w 1699080"/>
              <a:gd name="connsiteY91" fmla="*/ 101927 h 1498873"/>
              <a:gd name="connsiteX92" fmla="*/ 1304774 w 1699080"/>
              <a:gd name="connsiteY92" fmla="*/ 40009 h 1498873"/>
              <a:gd name="connsiteX93" fmla="*/ 1365062 w 1699080"/>
              <a:gd name="connsiteY93" fmla="*/ 678 h 1498873"/>
              <a:gd name="connsiteX94" fmla="*/ 1387322 w 1699080"/>
              <a:gd name="connsiteY94" fmla="*/ 23640 h 1498873"/>
              <a:gd name="connsiteX95" fmla="*/ 1346662 w 1699080"/>
              <a:gd name="connsiteY95" fmla="*/ 65478 h 1498873"/>
              <a:gd name="connsiteX96" fmla="*/ 1304975 w 1699080"/>
              <a:gd name="connsiteY96" fmla="*/ 102052 h 1498873"/>
              <a:gd name="connsiteX97" fmla="*/ 1378774 w 1699080"/>
              <a:gd name="connsiteY97" fmla="*/ 178208 h 1498873"/>
              <a:gd name="connsiteX98" fmla="*/ 1453651 w 1699080"/>
              <a:gd name="connsiteY98" fmla="*/ 260455 h 1498873"/>
              <a:gd name="connsiteX99" fmla="*/ 1410936 w 1699080"/>
              <a:gd name="connsiteY99" fmla="*/ 273641 h 1498873"/>
              <a:gd name="connsiteX100" fmla="*/ 1347389 w 1699080"/>
              <a:gd name="connsiteY100" fmla="*/ 212877 h 1498873"/>
              <a:gd name="connsiteX101" fmla="*/ 1286099 w 1699080"/>
              <a:gd name="connsiteY101" fmla="*/ 153316 h 1498873"/>
              <a:gd name="connsiteX102" fmla="*/ 1278679 w 1699080"/>
              <a:gd name="connsiteY102" fmla="*/ 146447 h 1498873"/>
              <a:gd name="connsiteX103" fmla="*/ 1238144 w 1699080"/>
              <a:gd name="connsiteY103" fmla="*/ 178910 h 1498873"/>
              <a:gd name="connsiteX104" fmla="*/ 1178759 w 1699080"/>
              <a:gd name="connsiteY104" fmla="*/ 215935 h 1498873"/>
              <a:gd name="connsiteX105" fmla="*/ 1041814 w 1699080"/>
              <a:gd name="connsiteY105" fmla="*/ 271961 h 1498873"/>
              <a:gd name="connsiteX106" fmla="*/ 925048 w 1699080"/>
              <a:gd name="connsiteY106" fmla="*/ 362456 h 1498873"/>
              <a:gd name="connsiteX107" fmla="*/ 905997 w 1699080"/>
              <a:gd name="connsiteY107" fmla="*/ 377922 h 1498873"/>
              <a:gd name="connsiteX108" fmla="*/ 914244 w 1699080"/>
              <a:gd name="connsiteY108" fmla="*/ 392035 h 1498873"/>
              <a:gd name="connsiteX109" fmla="*/ 921363 w 1699080"/>
              <a:gd name="connsiteY109" fmla="*/ 448964 h 1498873"/>
              <a:gd name="connsiteX110" fmla="*/ 882809 w 1699080"/>
              <a:gd name="connsiteY110" fmla="*/ 492457 h 1498873"/>
              <a:gd name="connsiteX111" fmla="*/ 872707 w 1699080"/>
              <a:gd name="connsiteY111" fmla="*/ 498423 h 1498873"/>
              <a:gd name="connsiteX112" fmla="*/ 907551 w 1699080"/>
              <a:gd name="connsiteY112" fmla="*/ 529156 h 1498873"/>
              <a:gd name="connsiteX113" fmla="*/ 942370 w 1699080"/>
              <a:gd name="connsiteY113" fmla="*/ 557608 h 1498873"/>
              <a:gd name="connsiteX114" fmla="*/ 962524 w 1699080"/>
              <a:gd name="connsiteY114" fmla="*/ 541163 h 1498873"/>
              <a:gd name="connsiteX115" fmla="*/ 1008198 w 1699080"/>
              <a:gd name="connsiteY115" fmla="*/ 530685 h 1498873"/>
              <a:gd name="connsiteX116" fmla="*/ 996616 w 1699080"/>
              <a:gd name="connsiteY116" fmla="*/ 572122 h 1498873"/>
              <a:gd name="connsiteX117" fmla="*/ 977741 w 1699080"/>
              <a:gd name="connsiteY117" fmla="*/ 588917 h 1498873"/>
              <a:gd name="connsiteX118" fmla="*/ 994110 w 1699080"/>
              <a:gd name="connsiteY118" fmla="*/ 604534 h 1498873"/>
              <a:gd name="connsiteX119" fmla="*/ 1014164 w 1699080"/>
              <a:gd name="connsiteY119" fmla="*/ 625867 h 1498873"/>
              <a:gd name="connsiteX120" fmla="*/ 1038430 w 1699080"/>
              <a:gd name="connsiteY120" fmla="*/ 614737 h 1498873"/>
              <a:gd name="connsiteX121" fmla="*/ 1083100 w 1699080"/>
              <a:gd name="connsiteY121" fmla="*/ 604008 h 1498873"/>
              <a:gd name="connsiteX122" fmla="*/ 1091849 w 1699080"/>
              <a:gd name="connsiteY122" fmla="*/ 619851 h 1498873"/>
              <a:gd name="connsiteX123" fmla="*/ 1057932 w 1699080"/>
              <a:gd name="connsiteY123" fmla="*/ 657553 h 1498873"/>
              <a:gd name="connsiteX124" fmla="*/ 1024016 w 1699080"/>
              <a:gd name="connsiteY124" fmla="*/ 685428 h 1498873"/>
              <a:gd name="connsiteX125" fmla="*/ 1029631 w 1699080"/>
              <a:gd name="connsiteY125" fmla="*/ 695806 h 1498873"/>
              <a:gd name="connsiteX126" fmla="*/ 1043844 w 1699080"/>
              <a:gd name="connsiteY126" fmla="*/ 703301 h 1498873"/>
              <a:gd name="connsiteX127" fmla="*/ 1096010 w 1699080"/>
              <a:gd name="connsiteY127" fmla="*/ 703076 h 1498873"/>
              <a:gd name="connsiteX128" fmla="*/ 1110249 w 1699080"/>
              <a:gd name="connsiteY128" fmla="*/ 695405 h 1498873"/>
              <a:gd name="connsiteX129" fmla="*/ 1156398 w 1699080"/>
              <a:gd name="connsiteY129" fmla="*/ 653216 h 1498873"/>
              <a:gd name="connsiteX130" fmla="*/ 1206884 w 1699080"/>
              <a:gd name="connsiteY130" fmla="*/ 621355 h 1498873"/>
              <a:gd name="connsiteX131" fmla="*/ 1224407 w 1699080"/>
              <a:gd name="connsiteY131" fmla="*/ 629076 h 1498873"/>
              <a:gd name="connsiteX132" fmla="*/ 1205656 w 1699080"/>
              <a:gd name="connsiteY132" fmla="*/ 672393 h 1498873"/>
              <a:gd name="connsiteX133" fmla="*/ 1149179 w 1699080"/>
              <a:gd name="connsiteY133" fmla="*/ 730475 h 1498873"/>
              <a:gd name="connsiteX134" fmla="*/ 1159156 w 1699080"/>
              <a:gd name="connsiteY134" fmla="*/ 754515 h 1498873"/>
              <a:gd name="connsiteX135" fmla="*/ 1200217 w 1699080"/>
              <a:gd name="connsiteY135" fmla="*/ 761082 h 1498873"/>
              <a:gd name="connsiteX136" fmla="*/ 1385743 w 1699080"/>
              <a:gd name="connsiteY136" fmla="*/ 608244 h 1498873"/>
              <a:gd name="connsiteX137" fmla="*/ 1445404 w 1699080"/>
              <a:gd name="connsiteY137" fmla="*/ 458515 h 1498873"/>
              <a:gd name="connsiteX138" fmla="*/ 1522913 w 1699080"/>
              <a:gd name="connsiteY138" fmla="*/ 391309 h 1498873"/>
              <a:gd name="connsiteX139" fmla="*/ 1503737 w 1699080"/>
              <a:gd name="connsiteY139" fmla="*/ 364787 h 1498873"/>
              <a:gd name="connsiteX140" fmla="*/ 1478117 w 1699080"/>
              <a:gd name="connsiteY140" fmla="*/ 334906 h 1498873"/>
              <a:gd name="connsiteX141" fmla="*/ 1507547 w 1699080"/>
              <a:gd name="connsiteY141" fmla="*/ 309036 h 1498873"/>
              <a:gd name="connsiteX142" fmla="*/ 1545098 w 1699080"/>
              <a:gd name="connsiteY142" fmla="*/ 340145 h 1498873"/>
              <a:gd name="connsiteX143" fmla="*/ 1578915 w 1699080"/>
              <a:gd name="connsiteY143" fmla="*/ 369525 h 1498873"/>
              <a:gd name="connsiteX144" fmla="*/ 1623209 w 1699080"/>
              <a:gd name="connsiteY144" fmla="*/ 337313 h 1498873"/>
              <a:gd name="connsiteX145" fmla="*/ 1674548 w 1699080"/>
              <a:gd name="connsiteY145" fmla="*/ 305100 h 1498873"/>
              <a:gd name="connsiteX146" fmla="*/ 1692547 w 1699080"/>
              <a:gd name="connsiteY146" fmla="*/ 312822 h 1498873"/>
              <a:gd name="connsiteX147" fmla="*/ 1655396 w 1699080"/>
              <a:gd name="connsiteY147" fmla="*/ 371004 h 1498873"/>
              <a:gd name="connsiteX148" fmla="*/ 1583477 w 1699080"/>
              <a:gd name="connsiteY148" fmla="*/ 413042 h 1498873"/>
              <a:gd name="connsiteX149" fmla="*/ 1529556 w 1699080"/>
              <a:gd name="connsiteY149" fmla="*/ 444628 h 1498873"/>
              <a:gd name="connsiteX150" fmla="*/ 1491855 w 1699080"/>
              <a:gd name="connsiteY150" fmla="*/ 474333 h 1498873"/>
              <a:gd name="connsiteX151" fmla="*/ 1479170 w 1699080"/>
              <a:gd name="connsiteY151" fmla="*/ 520959 h 1498873"/>
              <a:gd name="connsiteX152" fmla="*/ 1422918 w 1699080"/>
              <a:gd name="connsiteY152" fmla="*/ 637899 h 1498873"/>
              <a:gd name="connsiteX153" fmla="*/ 1224257 w 1699080"/>
              <a:gd name="connsiteY153" fmla="*/ 799085 h 1498873"/>
              <a:gd name="connsiteX154" fmla="*/ 1166049 w 1699080"/>
              <a:gd name="connsiteY154" fmla="*/ 806630 h 1498873"/>
              <a:gd name="connsiteX155" fmla="*/ 1151611 w 1699080"/>
              <a:gd name="connsiteY155" fmla="*/ 803722 h 1498873"/>
              <a:gd name="connsiteX156" fmla="*/ 1151611 w 1699080"/>
              <a:gd name="connsiteY156" fmla="*/ 900960 h 1498873"/>
              <a:gd name="connsiteX157" fmla="*/ 1138199 w 1699080"/>
              <a:gd name="connsiteY157" fmla="*/ 1019656 h 1498873"/>
              <a:gd name="connsiteX158" fmla="*/ 1110098 w 1699080"/>
              <a:gd name="connsiteY158" fmla="*/ 1017901 h 1498873"/>
              <a:gd name="connsiteX159" fmla="*/ 1101801 w 1699080"/>
              <a:gd name="connsiteY159" fmla="*/ 886296 h 1498873"/>
              <a:gd name="connsiteX160" fmla="*/ 1100146 w 1699080"/>
              <a:gd name="connsiteY160" fmla="*/ 759102 h 1498873"/>
              <a:gd name="connsiteX161" fmla="*/ 1091849 w 1699080"/>
              <a:gd name="connsiteY161" fmla="*/ 751958 h 1498873"/>
              <a:gd name="connsiteX162" fmla="*/ 1047003 w 1699080"/>
              <a:gd name="connsiteY162" fmla="*/ 751958 h 1498873"/>
              <a:gd name="connsiteX163" fmla="*/ 1038981 w 1699080"/>
              <a:gd name="connsiteY163" fmla="*/ 759578 h 1498873"/>
              <a:gd name="connsiteX164" fmla="*/ 1038029 w 1699080"/>
              <a:gd name="connsiteY164" fmla="*/ 851777 h 1498873"/>
              <a:gd name="connsiteX165" fmla="*/ 1037051 w 1699080"/>
              <a:gd name="connsiteY165" fmla="*/ 943976 h 1498873"/>
              <a:gd name="connsiteX166" fmla="*/ 1029230 w 1699080"/>
              <a:gd name="connsiteY166" fmla="*/ 949566 h 1498873"/>
              <a:gd name="connsiteX167" fmla="*/ 997068 w 1699080"/>
              <a:gd name="connsiteY167" fmla="*/ 947987 h 1498873"/>
              <a:gd name="connsiteX168" fmla="*/ 988921 w 1699080"/>
              <a:gd name="connsiteY168" fmla="*/ 940792 h 1498873"/>
              <a:gd name="connsiteX169" fmla="*/ 988921 w 1699080"/>
              <a:gd name="connsiteY169" fmla="*/ 829166 h 1498873"/>
              <a:gd name="connsiteX170" fmla="*/ 988921 w 1699080"/>
              <a:gd name="connsiteY170" fmla="*/ 717540 h 1498873"/>
              <a:gd name="connsiteX171" fmla="*/ 979219 w 1699080"/>
              <a:gd name="connsiteY171" fmla="*/ 708967 h 1498873"/>
              <a:gd name="connsiteX172" fmla="*/ 935527 w 1699080"/>
              <a:gd name="connsiteY172" fmla="*/ 708967 h 1498873"/>
              <a:gd name="connsiteX173" fmla="*/ 925825 w 1699080"/>
              <a:gd name="connsiteY173" fmla="*/ 717540 h 1498873"/>
              <a:gd name="connsiteX174" fmla="*/ 925825 w 1699080"/>
              <a:gd name="connsiteY174" fmla="*/ 829166 h 1498873"/>
              <a:gd name="connsiteX175" fmla="*/ 925825 w 1699080"/>
              <a:gd name="connsiteY175" fmla="*/ 940792 h 1498873"/>
              <a:gd name="connsiteX176" fmla="*/ 917679 w 1699080"/>
              <a:gd name="connsiteY176" fmla="*/ 947987 h 1498873"/>
              <a:gd name="connsiteX177" fmla="*/ 884188 w 1699080"/>
              <a:gd name="connsiteY177" fmla="*/ 947987 h 1498873"/>
              <a:gd name="connsiteX178" fmla="*/ 876016 w 1699080"/>
              <a:gd name="connsiteY178" fmla="*/ 940792 h 1498873"/>
              <a:gd name="connsiteX179" fmla="*/ 876016 w 1699080"/>
              <a:gd name="connsiteY179" fmla="*/ 798408 h 1498873"/>
              <a:gd name="connsiteX180" fmla="*/ 876016 w 1699080"/>
              <a:gd name="connsiteY180" fmla="*/ 656048 h 1498873"/>
              <a:gd name="connsiteX181" fmla="*/ 866315 w 1699080"/>
              <a:gd name="connsiteY181" fmla="*/ 647475 h 1498873"/>
              <a:gd name="connsiteX182" fmla="*/ 831120 w 1699080"/>
              <a:gd name="connsiteY182" fmla="*/ 642412 h 1498873"/>
              <a:gd name="connsiteX183" fmla="*/ 812945 w 1699080"/>
              <a:gd name="connsiteY183" fmla="*/ 801416 h 1498873"/>
              <a:gd name="connsiteX184" fmla="*/ 812945 w 1699080"/>
              <a:gd name="connsiteY184" fmla="*/ 940792 h 1498873"/>
              <a:gd name="connsiteX185" fmla="*/ 804798 w 1699080"/>
              <a:gd name="connsiteY185" fmla="*/ 947987 h 1498873"/>
              <a:gd name="connsiteX186" fmla="*/ 791663 w 1699080"/>
              <a:gd name="connsiteY186" fmla="*/ 955157 h 1498873"/>
              <a:gd name="connsiteX187" fmla="*/ 766821 w 1699080"/>
              <a:gd name="connsiteY187" fmla="*/ 941520 h 1498873"/>
              <a:gd name="connsiteX188" fmla="*/ 763136 w 1699080"/>
              <a:gd name="connsiteY188" fmla="*/ 817184 h 1498873"/>
              <a:gd name="connsiteX189" fmla="*/ 763136 w 1699080"/>
              <a:gd name="connsiteY189" fmla="*/ 699967 h 1498873"/>
              <a:gd name="connsiteX190" fmla="*/ 753435 w 1699080"/>
              <a:gd name="connsiteY190" fmla="*/ 691394 h 1498873"/>
              <a:gd name="connsiteX191" fmla="*/ 705204 w 1699080"/>
              <a:gd name="connsiteY191" fmla="*/ 699065 h 1498873"/>
              <a:gd name="connsiteX192" fmla="*/ 700066 w 1699080"/>
              <a:gd name="connsiteY192" fmla="*/ 862306 h 1498873"/>
              <a:gd name="connsiteX193" fmla="*/ 693924 w 1699080"/>
              <a:gd name="connsiteY193" fmla="*/ 1022689 h 1498873"/>
              <a:gd name="connsiteX194" fmla="*/ 659205 w 1699080"/>
              <a:gd name="connsiteY194" fmla="*/ 1022940 h 1498873"/>
              <a:gd name="connsiteX195" fmla="*/ 650256 w 1699080"/>
              <a:gd name="connsiteY195" fmla="*/ 967239 h 1498873"/>
              <a:gd name="connsiteX196" fmla="*/ 627570 w 1699080"/>
              <a:gd name="connsiteY196" fmla="*/ 903316 h 1498873"/>
              <a:gd name="connsiteX197" fmla="*/ 587236 w 1699080"/>
              <a:gd name="connsiteY197" fmla="*/ 913319 h 1498873"/>
              <a:gd name="connsiteX198" fmla="*/ 580543 w 1699080"/>
              <a:gd name="connsiteY198" fmla="*/ 1028305 h 1498873"/>
              <a:gd name="connsiteX199" fmla="*/ 642435 w 1699080"/>
              <a:gd name="connsiteY199" fmla="*/ 1252109 h 1498873"/>
              <a:gd name="connsiteX200" fmla="*/ 673494 w 1699080"/>
              <a:gd name="connsiteY200" fmla="*/ 1292844 h 1498873"/>
              <a:gd name="connsiteX201" fmla="*/ 673494 w 1699080"/>
              <a:gd name="connsiteY201" fmla="*/ 1340698 h 1498873"/>
              <a:gd name="connsiteX202" fmla="*/ 673494 w 1699080"/>
              <a:gd name="connsiteY202" fmla="*/ 1388527 h 1498873"/>
              <a:gd name="connsiteX203" fmla="*/ 859421 w 1699080"/>
              <a:gd name="connsiteY203" fmla="*/ 1388527 h 1498873"/>
              <a:gd name="connsiteX204" fmla="*/ 1045348 w 1699080"/>
              <a:gd name="connsiteY204" fmla="*/ 1388527 h 1498873"/>
              <a:gd name="connsiteX205" fmla="*/ 1045348 w 1699080"/>
              <a:gd name="connsiteY205" fmla="*/ 1338843 h 1498873"/>
              <a:gd name="connsiteX206" fmla="*/ 1045348 w 1699080"/>
              <a:gd name="connsiteY206" fmla="*/ 1289134 h 1498873"/>
              <a:gd name="connsiteX207" fmla="*/ 1058283 w 1699080"/>
              <a:gd name="connsiteY207" fmla="*/ 1266372 h 1498873"/>
              <a:gd name="connsiteX208" fmla="*/ 1100372 w 1699080"/>
              <a:gd name="connsiteY208" fmla="*/ 1119751 h 1498873"/>
              <a:gd name="connsiteX209" fmla="*/ 1111026 w 1699080"/>
              <a:gd name="connsiteY209" fmla="*/ 1078038 h 1498873"/>
              <a:gd name="connsiteX210" fmla="*/ 1140581 w 1699080"/>
              <a:gd name="connsiteY210" fmla="*/ 1079317 h 1498873"/>
              <a:gd name="connsiteX211" fmla="*/ 1149830 w 1699080"/>
              <a:gd name="connsiteY211" fmla="*/ 1086336 h 1498873"/>
              <a:gd name="connsiteX212" fmla="*/ 1148878 w 1699080"/>
              <a:gd name="connsiteY212" fmla="*/ 1120829 h 1498873"/>
              <a:gd name="connsiteX213" fmla="*/ 1108419 w 1699080"/>
              <a:gd name="connsiteY213" fmla="*/ 1276224 h 1498873"/>
              <a:gd name="connsiteX214" fmla="*/ 1093453 w 1699080"/>
              <a:gd name="connsiteY214" fmla="*/ 1348895 h 1498873"/>
              <a:gd name="connsiteX215" fmla="*/ 1091022 w 1699080"/>
              <a:gd name="connsiteY215" fmla="*/ 1397702 h 1498873"/>
              <a:gd name="connsiteX216" fmla="*/ 1099520 w 1699080"/>
              <a:gd name="connsiteY216" fmla="*/ 1405573 h 1498873"/>
              <a:gd name="connsiteX217" fmla="*/ 1115087 w 1699080"/>
              <a:gd name="connsiteY217" fmla="*/ 1457664 h 1498873"/>
              <a:gd name="connsiteX218" fmla="*/ 1106940 w 1699080"/>
              <a:gd name="connsiteY218" fmla="*/ 1492608 h 1498873"/>
              <a:gd name="connsiteX219" fmla="*/ 1080543 w 1699080"/>
              <a:gd name="connsiteY219" fmla="*/ 1496469 h 1498873"/>
              <a:gd name="connsiteX220" fmla="*/ 1065452 w 1699080"/>
              <a:gd name="connsiteY220" fmla="*/ 1458817 h 1498873"/>
              <a:gd name="connsiteX221" fmla="*/ 1063623 w 1699080"/>
              <a:gd name="connsiteY221" fmla="*/ 1433925 h 1498873"/>
              <a:gd name="connsiteX222" fmla="*/ 859421 w 1699080"/>
              <a:gd name="connsiteY222" fmla="*/ 1433925 h 1498873"/>
              <a:gd name="connsiteX223" fmla="*/ 655244 w 1699080"/>
              <a:gd name="connsiteY223" fmla="*/ 1433925 h 1498873"/>
              <a:gd name="connsiteX224" fmla="*/ 653465 w 1699080"/>
              <a:gd name="connsiteY224" fmla="*/ 1459870 h 1498873"/>
              <a:gd name="connsiteX225" fmla="*/ 642485 w 1699080"/>
              <a:gd name="connsiteY225" fmla="*/ 1492809 h 1498873"/>
              <a:gd name="connsiteX226" fmla="*/ 620375 w 1699080"/>
              <a:gd name="connsiteY226" fmla="*/ 1497722 h 149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</a:cxnLst>
            <a:rect l="l" t="t" r="r" b="b"/>
            <a:pathLst>
              <a:path w="1699080" h="1498873">
                <a:moveTo>
                  <a:pt x="620375" y="1497722"/>
                </a:moveTo>
                <a:cubicBezTo>
                  <a:pt x="605686" y="1492959"/>
                  <a:pt x="603781" y="1488247"/>
                  <a:pt x="603781" y="1456561"/>
                </a:cubicBezTo>
                <a:cubicBezTo>
                  <a:pt x="603781" y="1430490"/>
                  <a:pt x="604858" y="1424249"/>
                  <a:pt x="611025" y="1414548"/>
                </a:cubicBezTo>
                <a:cubicBezTo>
                  <a:pt x="615011" y="1408306"/>
                  <a:pt x="619498" y="1403167"/>
                  <a:pt x="620977" y="1403167"/>
                </a:cubicBezTo>
                <a:cubicBezTo>
                  <a:pt x="622481" y="1403167"/>
                  <a:pt x="623684" y="1381157"/>
                  <a:pt x="623684" y="1354260"/>
                </a:cubicBezTo>
                <a:lnTo>
                  <a:pt x="623684" y="1305352"/>
                </a:lnTo>
                <a:lnTo>
                  <a:pt x="597313" y="1271311"/>
                </a:lnTo>
                <a:cubicBezTo>
                  <a:pt x="566204" y="1231152"/>
                  <a:pt x="550486" y="1204505"/>
                  <a:pt x="540234" y="1174624"/>
                </a:cubicBezTo>
                <a:cubicBezTo>
                  <a:pt x="533140" y="1153893"/>
                  <a:pt x="532713" y="1147075"/>
                  <a:pt x="531535" y="1035874"/>
                </a:cubicBezTo>
                <a:cubicBezTo>
                  <a:pt x="530457" y="933272"/>
                  <a:pt x="530984" y="917379"/>
                  <a:pt x="535697" y="906450"/>
                </a:cubicBezTo>
                <a:cubicBezTo>
                  <a:pt x="542465" y="890858"/>
                  <a:pt x="551489" y="880655"/>
                  <a:pt x="567683" y="870302"/>
                </a:cubicBezTo>
                <a:lnTo>
                  <a:pt x="580367" y="862206"/>
                </a:lnTo>
                <a:lnTo>
                  <a:pt x="512359" y="804450"/>
                </a:lnTo>
                <a:cubicBezTo>
                  <a:pt x="472777" y="770808"/>
                  <a:pt x="443498" y="743660"/>
                  <a:pt x="442294" y="739449"/>
                </a:cubicBezTo>
                <a:cubicBezTo>
                  <a:pt x="437782" y="723581"/>
                  <a:pt x="456006" y="708139"/>
                  <a:pt x="472576" y="713804"/>
                </a:cubicBezTo>
                <a:cubicBezTo>
                  <a:pt x="476938" y="715284"/>
                  <a:pt x="517222" y="747822"/>
                  <a:pt x="562043" y="786075"/>
                </a:cubicBezTo>
                <a:cubicBezTo>
                  <a:pt x="606889" y="824303"/>
                  <a:pt x="645067" y="855613"/>
                  <a:pt x="646897" y="855613"/>
                </a:cubicBezTo>
                <a:cubicBezTo>
                  <a:pt x="648977" y="855613"/>
                  <a:pt x="650256" y="841976"/>
                  <a:pt x="650256" y="819966"/>
                </a:cubicBezTo>
                <a:lnTo>
                  <a:pt x="650256" y="784345"/>
                </a:lnTo>
                <a:lnTo>
                  <a:pt x="594932" y="737193"/>
                </a:lnTo>
                <a:cubicBezTo>
                  <a:pt x="545899" y="695430"/>
                  <a:pt x="539582" y="688962"/>
                  <a:pt x="539582" y="680615"/>
                </a:cubicBezTo>
                <a:cubicBezTo>
                  <a:pt x="539582" y="667805"/>
                  <a:pt x="548882" y="659408"/>
                  <a:pt x="563070" y="659408"/>
                </a:cubicBezTo>
                <a:cubicBezTo>
                  <a:pt x="573048" y="659408"/>
                  <a:pt x="579164" y="663444"/>
                  <a:pt x="613181" y="692372"/>
                </a:cubicBezTo>
                <a:lnTo>
                  <a:pt x="651911" y="725311"/>
                </a:lnTo>
                <a:lnTo>
                  <a:pt x="653816" y="705959"/>
                </a:lnTo>
                <a:cubicBezTo>
                  <a:pt x="655019" y="693600"/>
                  <a:pt x="658403" y="682545"/>
                  <a:pt x="663141" y="675451"/>
                </a:cubicBezTo>
                <a:lnTo>
                  <a:pt x="670611" y="664321"/>
                </a:lnTo>
                <a:lnTo>
                  <a:pt x="643839" y="640582"/>
                </a:lnTo>
                <a:cubicBezTo>
                  <a:pt x="613933" y="614085"/>
                  <a:pt x="610799" y="606114"/>
                  <a:pt x="625213" y="593404"/>
                </a:cubicBezTo>
                <a:cubicBezTo>
                  <a:pt x="639828" y="580520"/>
                  <a:pt x="648100" y="583653"/>
                  <a:pt x="685727" y="616291"/>
                </a:cubicBezTo>
                <a:lnTo>
                  <a:pt x="712900" y="639855"/>
                </a:lnTo>
                <a:lnTo>
                  <a:pt x="732202" y="640306"/>
                </a:lnTo>
                <a:cubicBezTo>
                  <a:pt x="742831" y="640557"/>
                  <a:pt x="755265" y="641685"/>
                  <a:pt x="759827" y="642788"/>
                </a:cubicBezTo>
                <a:cubicBezTo>
                  <a:pt x="767197" y="644618"/>
                  <a:pt x="768851" y="643464"/>
                  <a:pt x="774492" y="632560"/>
                </a:cubicBezTo>
                <a:lnTo>
                  <a:pt x="780884" y="620252"/>
                </a:lnTo>
                <a:lnTo>
                  <a:pt x="740826" y="586060"/>
                </a:lnTo>
                <a:cubicBezTo>
                  <a:pt x="718816" y="567259"/>
                  <a:pt x="699088" y="549085"/>
                  <a:pt x="697007" y="545675"/>
                </a:cubicBezTo>
                <a:cubicBezTo>
                  <a:pt x="688886" y="532264"/>
                  <a:pt x="701971" y="515945"/>
                  <a:pt x="720872" y="515945"/>
                </a:cubicBezTo>
                <a:cubicBezTo>
                  <a:pt x="728442" y="515945"/>
                  <a:pt x="739171" y="523641"/>
                  <a:pt x="776497" y="555853"/>
                </a:cubicBezTo>
                <a:lnTo>
                  <a:pt x="822772" y="595761"/>
                </a:lnTo>
                <a:lnTo>
                  <a:pt x="845233" y="596262"/>
                </a:lnTo>
                <a:cubicBezTo>
                  <a:pt x="870200" y="596838"/>
                  <a:pt x="888124" y="603356"/>
                  <a:pt x="903214" y="617419"/>
                </a:cubicBezTo>
                <a:cubicBezTo>
                  <a:pt x="912840" y="626393"/>
                  <a:pt x="925650" y="648929"/>
                  <a:pt x="925750" y="657152"/>
                </a:cubicBezTo>
                <a:cubicBezTo>
                  <a:pt x="925800" y="661363"/>
                  <a:pt x="927254" y="661739"/>
                  <a:pt x="934348" y="659357"/>
                </a:cubicBezTo>
                <a:cubicBezTo>
                  <a:pt x="939036" y="657778"/>
                  <a:pt x="949640" y="656500"/>
                  <a:pt x="957937" y="656500"/>
                </a:cubicBezTo>
                <a:cubicBezTo>
                  <a:pt x="970321" y="656500"/>
                  <a:pt x="972652" y="655672"/>
                  <a:pt x="970998" y="651862"/>
                </a:cubicBezTo>
                <a:cubicBezTo>
                  <a:pt x="969894" y="649305"/>
                  <a:pt x="968992" y="646147"/>
                  <a:pt x="968992" y="644843"/>
                </a:cubicBezTo>
                <a:cubicBezTo>
                  <a:pt x="968992" y="643540"/>
                  <a:pt x="911487" y="593480"/>
                  <a:pt x="841172" y="533643"/>
                </a:cubicBezTo>
                <a:cubicBezTo>
                  <a:pt x="761882" y="466110"/>
                  <a:pt x="712574" y="422016"/>
                  <a:pt x="711271" y="417404"/>
                </a:cubicBezTo>
                <a:cubicBezTo>
                  <a:pt x="708062" y="406224"/>
                  <a:pt x="719267" y="394642"/>
                  <a:pt x="734408" y="393514"/>
                </a:cubicBezTo>
                <a:cubicBezTo>
                  <a:pt x="745764" y="392662"/>
                  <a:pt x="748822" y="394567"/>
                  <a:pt x="784494" y="424724"/>
                </a:cubicBezTo>
                <a:cubicBezTo>
                  <a:pt x="825755" y="459593"/>
                  <a:pt x="834353" y="463503"/>
                  <a:pt x="853881" y="456309"/>
                </a:cubicBezTo>
                <a:cubicBezTo>
                  <a:pt x="873058" y="449240"/>
                  <a:pt x="880929" y="430239"/>
                  <a:pt x="871353" y="414045"/>
                </a:cubicBezTo>
                <a:cubicBezTo>
                  <a:pt x="866590" y="405973"/>
                  <a:pt x="735210" y="292868"/>
                  <a:pt x="705029" y="270833"/>
                </a:cubicBezTo>
                <a:cubicBezTo>
                  <a:pt x="688284" y="258625"/>
                  <a:pt x="651760" y="241228"/>
                  <a:pt x="630327" y="235262"/>
                </a:cubicBezTo>
                <a:cubicBezTo>
                  <a:pt x="623935" y="233482"/>
                  <a:pt x="596310" y="228669"/>
                  <a:pt x="568911" y="224583"/>
                </a:cubicBezTo>
                <a:cubicBezTo>
                  <a:pt x="541512" y="220497"/>
                  <a:pt x="515392" y="216411"/>
                  <a:pt x="510879" y="215509"/>
                </a:cubicBezTo>
                <a:cubicBezTo>
                  <a:pt x="506342" y="214606"/>
                  <a:pt x="485661" y="199164"/>
                  <a:pt x="464930" y="181166"/>
                </a:cubicBezTo>
                <a:lnTo>
                  <a:pt x="427229" y="148452"/>
                </a:lnTo>
                <a:lnTo>
                  <a:pt x="371904" y="198462"/>
                </a:lnTo>
                <a:cubicBezTo>
                  <a:pt x="341472" y="225962"/>
                  <a:pt x="283365" y="278830"/>
                  <a:pt x="242755" y="315930"/>
                </a:cubicBezTo>
                <a:lnTo>
                  <a:pt x="168931" y="383362"/>
                </a:lnTo>
                <a:lnTo>
                  <a:pt x="208864" y="416702"/>
                </a:lnTo>
                <a:cubicBezTo>
                  <a:pt x="247969" y="449365"/>
                  <a:pt x="248997" y="450543"/>
                  <a:pt x="258097" y="473481"/>
                </a:cubicBezTo>
                <a:cubicBezTo>
                  <a:pt x="281084" y="531537"/>
                  <a:pt x="304798" y="563173"/>
                  <a:pt x="367217" y="619124"/>
                </a:cubicBezTo>
                <a:cubicBezTo>
                  <a:pt x="413416" y="660511"/>
                  <a:pt x="415296" y="662641"/>
                  <a:pt x="413216" y="671791"/>
                </a:cubicBezTo>
                <a:cubicBezTo>
                  <a:pt x="410508" y="683723"/>
                  <a:pt x="405620" y="688085"/>
                  <a:pt x="392284" y="690442"/>
                </a:cubicBezTo>
                <a:cubicBezTo>
                  <a:pt x="382483" y="692146"/>
                  <a:pt x="379449" y="690366"/>
                  <a:pt x="349168" y="665048"/>
                </a:cubicBezTo>
                <a:cubicBezTo>
                  <a:pt x="274667" y="602780"/>
                  <a:pt x="239647" y="558260"/>
                  <a:pt x="212148" y="490802"/>
                </a:cubicBezTo>
                <a:cubicBezTo>
                  <a:pt x="205630" y="474859"/>
                  <a:pt x="200742" y="469595"/>
                  <a:pt x="165522" y="440291"/>
                </a:cubicBezTo>
                <a:cubicBezTo>
                  <a:pt x="134763" y="414747"/>
                  <a:pt x="124135" y="407578"/>
                  <a:pt x="116790" y="407527"/>
                </a:cubicBezTo>
                <a:cubicBezTo>
                  <a:pt x="99092" y="407377"/>
                  <a:pt x="82623" y="397300"/>
                  <a:pt x="41085" y="361177"/>
                </a:cubicBezTo>
                <a:cubicBezTo>
                  <a:pt x="-3360" y="322497"/>
                  <a:pt x="-6092" y="318011"/>
                  <a:pt x="6392" y="304048"/>
                </a:cubicBezTo>
                <a:cubicBezTo>
                  <a:pt x="11480" y="298332"/>
                  <a:pt x="16293" y="296327"/>
                  <a:pt x="24917" y="296327"/>
                </a:cubicBezTo>
                <a:cubicBezTo>
                  <a:pt x="35320" y="296327"/>
                  <a:pt x="40810" y="299987"/>
                  <a:pt x="75579" y="329993"/>
                </a:cubicBezTo>
                <a:cubicBezTo>
                  <a:pt x="97037" y="348518"/>
                  <a:pt x="116138" y="363684"/>
                  <a:pt x="118043" y="363684"/>
                </a:cubicBezTo>
                <a:cubicBezTo>
                  <a:pt x="119948" y="363684"/>
                  <a:pt x="159405" y="329090"/>
                  <a:pt x="205730" y="286801"/>
                </a:cubicBezTo>
                <a:cubicBezTo>
                  <a:pt x="252055" y="244537"/>
                  <a:pt x="315000" y="187282"/>
                  <a:pt x="345608" y="159608"/>
                </a:cubicBezTo>
                <a:cubicBezTo>
                  <a:pt x="376216" y="131908"/>
                  <a:pt x="401233" y="107367"/>
                  <a:pt x="401233" y="105085"/>
                </a:cubicBezTo>
                <a:cubicBezTo>
                  <a:pt x="401233" y="102779"/>
                  <a:pt x="383310" y="85232"/>
                  <a:pt x="361401" y="66080"/>
                </a:cubicBezTo>
                <a:cubicBezTo>
                  <a:pt x="317582" y="27777"/>
                  <a:pt x="314173" y="21460"/>
                  <a:pt x="329715" y="7772"/>
                </a:cubicBezTo>
                <a:cubicBezTo>
                  <a:pt x="344505" y="-5288"/>
                  <a:pt x="351374" y="-2505"/>
                  <a:pt x="395568" y="34595"/>
                </a:cubicBezTo>
                <a:cubicBezTo>
                  <a:pt x="439186" y="71194"/>
                  <a:pt x="450993" y="84856"/>
                  <a:pt x="451018" y="98718"/>
                </a:cubicBezTo>
                <a:cubicBezTo>
                  <a:pt x="451043" y="106063"/>
                  <a:pt x="457335" y="113082"/>
                  <a:pt x="488444" y="140431"/>
                </a:cubicBezTo>
                <a:lnTo>
                  <a:pt x="525845" y="173320"/>
                </a:lnTo>
                <a:lnTo>
                  <a:pt x="573925" y="180715"/>
                </a:lnTo>
                <a:cubicBezTo>
                  <a:pt x="682493" y="197385"/>
                  <a:pt x="704176" y="207888"/>
                  <a:pt x="803595" y="291915"/>
                </a:cubicBezTo>
                <a:cubicBezTo>
                  <a:pt x="838840" y="321721"/>
                  <a:pt x="868571" y="346111"/>
                  <a:pt x="869649" y="346111"/>
                </a:cubicBezTo>
                <a:cubicBezTo>
                  <a:pt x="870701" y="346111"/>
                  <a:pt x="899855" y="323576"/>
                  <a:pt x="934399" y="296051"/>
                </a:cubicBezTo>
                <a:cubicBezTo>
                  <a:pt x="1023589" y="224959"/>
                  <a:pt x="1063222" y="202774"/>
                  <a:pt x="1141157" y="180263"/>
                </a:cubicBezTo>
                <a:cubicBezTo>
                  <a:pt x="1175299" y="170387"/>
                  <a:pt x="1175826" y="170111"/>
                  <a:pt x="1214204" y="139202"/>
                </a:cubicBezTo>
                <a:cubicBezTo>
                  <a:pt x="1236214" y="121505"/>
                  <a:pt x="1253285" y="105436"/>
                  <a:pt x="1253811" y="101927"/>
                </a:cubicBezTo>
                <a:cubicBezTo>
                  <a:pt x="1256945" y="81496"/>
                  <a:pt x="1264992" y="71720"/>
                  <a:pt x="1304774" y="40009"/>
                </a:cubicBezTo>
                <a:cubicBezTo>
                  <a:pt x="1347239" y="6193"/>
                  <a:pt x="1355411" y="854"/>
                  <a:pt x="1365062" y="678"/>
                </a:cubicBezTo>
                <a:cubicBezTo>
                  <a:pt x="1374462" y="503"/>
                  <a:pt x="1387322" y="13789"/>
                  <a:pt x="1387322" y="23640"/>
                </a:cubicBezTo>
                <a:cubicBezTo>
                  <a:pt x="1387322" y="31010"/>
                  <a:pt x="1381105" y="37403"/>
                  <a:pt x="1346662" y="65478"/>
                </a:cubicBezTo>
                <a:cubicBezTo>
                  <a:pt x="1324302" y="83703"/>
                  <a:pt x="1305526" y="100147"/>
                  <a:pt x="1304975" y="102052"/>
                </a:cubicBezTo>
                <a:cubicBezTo>
                  <a:pt x="1304423" y="103932"/>
                  <a:pt x="1337613" y="138200"/>
                  <a:pt x="1378774" y="178208"/>
                </a:cubicBezTo>
                <a:cubicBezTo>
                  <a:pt x="1443749" y="241378"/>
                  <a:pt x="1453576" y="252183"/>
                  <a:pt x="1453651" y="260455"/>
                </a:cubicBezTo>
                <a:cubicBezTo>
                  <a:pt x="1453827" y="280910"/>
                  <a:pt x="1428960" y="288581"/>
                  <a:pt x="1410936" y="273641"/>
                </a:cubicBezTo>
                <a:cubicBezTo>
                  <a:pt x="1405596" y="269204"/>
                  <a:pt x="1376994" y="241855"/>
                  <a:pt x="1347389" y="212877"/>
                </a:cubicBezTo>
                <a:cubicBezTo>
                  <a:pt x="1317784" y="183873"/>
                  <a:pt x="1290210" y="157076"/>
                  <a:pt x="1286099" y="153316"/>
                </a:cubicBezTo>
                <a:lnTo>
                  <a:pt x="1278679" y="146447"/>
                </a:lnTo>
                <a:lnTo>
                  <a:pt x="1238144" y="178910"/>
                </a:lnTo>
                <a:cubicBezTo>
                  <a:pt x="1202899" y="207136"/>
                  <a:pt x="1195153" y="211974"/>
                  <a:pt x="1178759" y="215935"/>
                </a:cubicBezTo>
                <a:cubicBezTo>
                  <a:pt x="1127821" y="228268"/>
                  <a:pt x="1076884" y="249099"/>
                  <a:pt x="1041814" y="271961"/>
                </a:cubicBezTo>
                <a:cubicBezTo>
                  <a:pt x="1025520" y="282565"/>
                  <a:pt x="979069" y="318587"/>
                  <a:pt x="925048" y="362456"/>
                </a:cubicBezTo>
                <a:lnTo>
                  <a:pt x="905997" y="377922"/>
                </a:lnTo>
                <a:lnTo>
                  <a:pt x="914244" y="392035"/>
                </a:lnTo>
                <a:cubicBezTo>
                  <a:pt x="925550" y="411363"/>
                  <a:pt x="927806" y="429386"/>
                  <a:pt x="921363" y="448964"/>
                </a:cubicBezTo>
                <a:cubicBezTo>
                  <a:pt x="915372" y="467088"/>
                  <a:pt x="897725" y="487017"/>
                  <a:pt x="882809" y="492457"/>
                </a:cubicBezTo>
                <a:cubicBezTo>
                  <a:pt x="877244" y="494487"/>
                  <a:pt x="872707" y="497169"/>
                  <a:pt x="872707" y="498423"/>
                </a:cubicBezTo>
                <a:cubicBezTo>
                  <a:pt x="872707" y="499676"/>
                  <a:pt x="888374" y="513514"/>
                  <a:pt x="907551" y="529156"/>
                </a:cubicBezTo>
                <a:lnTo>
                  <a:pt x="942370" y="557608"/>
                </a:lnTo>
                <a:lnTo>
                  <a:pt x="962524" y="541163"/>
                </a:lnTo>
                <a:cubicBezTo>
                  <a:pt x="984810" y="522964"/>
                  <a:pt x="995764" y="520457"/>
                  <a:pt x="1008198" y="530685"/>
                </a:cubicBezTo>
                <a:cubicBezTo>
                  <a:pt x="1021283" y="541439"/>
                  <a:pt x="1018050" y="553020"/>
                  <a:pt x="996616" y="572122"/>
                </a:cubicBezTo>
                <a:lnTo>
                  <a:pt x="977741" y="588917"/>
                </a:lnTo>
                <a:lnTo>
                  <a:pt x="994110" y="604534"/>
                </a:lnTo>
                <a:cubicBezTo>
                  <a:pt x="1003134" y="613133"/>
                  <a:pt x="1012133" y="622709"/>
                  <a:pt x="1014164" y="625867"/>
                </a:cubicBezTo>
                <a:cubicBezTo>
                  <a:pt x="1017573" y="631182"/>
                  <a:pt x="1019228" y="630404"/>
                  <a:pt x="1038430" y="614737"/>
                </a:cubicBezTo>
                <a:cubicBezTo>
                  <a:pt x="1060991" y="596312"/>
                  <a:pt x="1069163" y="594357"/>
                  <a:pt x="1083100" y="604008"/>
                </a:cubicBezTo>
                <a:cubicBezTo>
                  <a:pt x="1089417" y="608395"/>
                  <a:pt x="1091849" y="612757"/>
                  <a:pt x="1091849" y="619851"/>
                </a:cubicBezTo>
                <a:cubicBezTo>
                  <a:pt x="1091849" y="628499"/>
                  <a:pt x="1087863" y="632911"/>
                  <a:pt x="1057932" y="657553"/>
                </a:cubicBezTo>
                <a:lnTo>
                  <a:pt x="1024016" y="685428"/>
                </a:lnTo>
                <a:lnTo>
                  <a:pt x="1029631" y="695806"/>
                </a:lnTo>
                <a:cubicBezTo>
                  <a:pt x="1034745" y="705282"/>
                  <a:pt x="1035998" y="705933"/>
                  <a:pt x="1043844" y="703301"/>
                </a:cubicBezTo>
                <a:cubicBezTo>
                  <a:pt x="1054623" y="699692"/>
                  <a:pt x="1085507" y="699541"/>
                  <a:pt x="1096010" y="703076"/>
                </a:cubicBezTo>
                <a:cubicBezTo>
                  <a:pt x="1102979" y="705407"/>
                  <a:pt x="1104709" y="704479"/>
                  <a:pt x="1110249" y="695405"/>
                </a:cubicBezTo>
                <a:cubicBezTo>
                  <a:pt x="1113708" y="689740"/>
                  <a:pt x="1134464" y="670738"/>
                  <a:pt x="1156398" y="653216"/>
                </a:cubicBezTo>
                <a:cubicBezTo>
                  <a:pt x="1189663" y="626619"/>
                  <a:pt x="1197986" y="621355"/>
                  <a:pt x="1206884" y="621355"/>
                </a:cubicBezTo>
                <a:cubicBezTo>
                  <a:pt x="1214430" y="621355"/>
                  <a:pt x="1219519" y="623611"/>
                  <a:pt x="1224407" y="629076"/>
                </a:cubicBezTo>
                <a:cubicBezTo>
                  <a:pt x="1236715" y="642863"/>
                  <a:pt x="1233782" y="649656"/>
                  <a:pt x="1205656" y="672393"/>
                </a:cubicBezTo>
                <a:cubicBezTo>
                  <a:pt x="1147374" y="719470"/>
                  <a:pt x="1151084" y="715660"/>
                  <a:pt x="1149179" y="730475"/>
                </a:cubicBezTo>
                <a:cubicBezTo>
                  <a:pt x="1147574" y="743184"/>
                  <a:pt x="1148301" y="744939"/>
                  <a:pt x="1159156" y="754515"/>
                </a:cubicBezTo>
                <a:cubicBezTo>
                  <a:pt x="1171790" y="765645"/>
                  <a:pt x="1186379" y="767976"/>
                  <a:pt x="1200217" y="761082"/>
                </a:cubicBezTo>
                <a:cubicBezTo>
                  <a:pt x="1217990" y="752183"/>
                  <a:pt x="1371780" y="625491"/>
                  <a:pt x="1385743" y="608244"/>
                </a:cubicBezTo>
                <a:cubicBezTo>
                  <a:pt x="1411262" y="576709"/>
                  <a:pt x="1421891" y="550037"/>
                  <a:pt x="1445404" y="458515"/>
                </a:cubicBezTo>
                <a:cubicBezTo>
                  <a:pt x="1446657" y="453602"/>
                  <a:pt x="1478644" y="425877"/>
                  <a:pt x="1522913" y="391309"/>
                </a:cubicBezTo>
                <a:cubicBezTo>
                  <a:pt x="1526498" y="388526"/>
                  <a:pt x="1522863" y="383488"/>
                  <a:pt x="1503737" y="364787"/>
                </a:cubicBezTo>
                <a:cubicBezTo>
                  <a:pt x="1490727" y="352102"/>
                  <a:pt x="1479220" y="338641"/>
                  <a:pt x="1478117" y="334906"/>
                </a:cubicBezTo>
                <a:cubicBezTo>
                  <a:pt x="1473806" y="320141"/>
                  <a:pt x="1490701" y="305301"/>
                  <a:pt x="1507547" y="309036"/>
                </a:cubicBezTo>
                <a:cubicBezTo>
                  <a:pt x="1511858" y="309989"/>
                  <a:pt x="1528754" y="323977"/>
                  <a:pt x="1545098" y="340145"/>
                </a:cubicBezTo>
                <a:cubicBezTo>
                  <a:pt x="1561443" y="356314"/>
                  <a:pt x="1576658" y="369525"/>
                  <a:pt x="1578915" y="369525"/>
                </a:cubicBezTo>
                <a:cubicBezTo>
                  <a:pt x="1581146" y="369525"/>
                  <a:pt x="1601100" y="355035"/>
                  <a:pt x="1623209" y="337313"/>
                </a:cubicBezTo>
                <a:cubicBezTo>
                  <a:pt x="1657577" y="309813"/>
                  <a:pt x="1665047" y="305100"/>
                  <a:pt x="1674548" y="305100"/>
                </a:cubicBezTo>
                <a:cubicBezTo>
                  <a:pt x="1682595" y="305100"/>
                  <a:pt x="1687558" y="307231"/>
                  <a:pt x="1692547" y="312822"/>
                </a:cubicBezTo>
                <a:cubicBezTo>
                  <a:pt x="1705657" y="327536"/>
                  <a:pt x="1701521" y="334029"/>
                  <a:pt x="1655396" y="371004"/>
                </a:cubicBezTo>
                <a:cubicBezTo>
                  <a:pt x="1610826" y="406700"/>
                  <a:pt x="1604058" y="410686"/>
                  <a:pt x="1583477" y="413042"/>
                </a:cubicBezTo>
                <a:cubicBezTo>
                  <a:pt x="1568787" y="414747"/>
                  <a:pt x="1563774" y="417680"/>
                  <a:pt x="1529556" y="444628"/>
                </a:cubicBezTo>
                <a:lnTo>
                  <a:pt x="1491855" y="474333"/>
                </a:lnTo>
                <a:lnTo>
                  <a:pt x="1479170" y="520959"/>
                </a:lnTo>
                <a:cubicBezTo>
                  <a:pt x="1465057" y="572874"/>
                  <a:pt x="1448237" y="607843"/>
                  <a:pt x="1422918" y="637899"/>
                </a:cubicBezTo>
                <a:cubicBezTo>
                  <a:pt x="1405521" y="658555"/>
                  <a:pt x="1244286" y="789384"/>
                  <a:pt x="1224257" y="799085"/>
                </a:cubicBezTo>
                <a:cubicBezTo>
                  <a:pt x="1207186" y="807357"/>
                  <a:pt x="1184349" y="810315"/>
                  <a:pt x="1166049" y="806630"/>
                </a:cubicBezTo>
                <a:lnTo>
                  <a:pt x="1151611" y="803722"/>
                </a:lnTo>
                <a:lnTo>
                  <a:pt x="1151611" y="900960"/>
                </a:lnTo>
                <a:cubicBezTo>
                  <a:pt x="1151611" y="1001181"/>
                  <a:pt x="1150156" y="1013990"/>
                  <a:pt x="1138199" y="1019656"/>
                </a:cubicBezTo>
                <a:cubicBezTo>
                  <a:pt x="1129501" y="1023742"/>
                  <a:pt x="1117794" y="1023040"/>
                  <a:pt x="1110098" y="1017901"/>
                </a:cubicBezTo>
                <a:cubicBezTo>
                  <a:pt x="1103681" y="1013639"/>
                  <a:pt x="1103405" y="1009153"/>
                  <a:pt x="1101801" y="886296"/>
                </a:cubicBezTo>
                <a:lnTo>
                  <a:pt x="1100146" y="759102"/>
                </a:lnTo>
                <a:lnTo>
                  <a:pt x="1091849" y="751958"/>
                </a:lnTo>
                <a:cubicBezTo>
                  <a:pt x="1078738" y="740652"/>
                  <a:pt x="1058860" y="740652"/>
                  <a:pt x="1047003" y="751958"/>
                </a:cubicBezTo>
                <a:lnTo>
                  <a:pt x="1038981" y="759578"/>
                </a:lnTo>
                <a:lnTo>
                  <a:pt x="1038029" y="851777"/>
                </a:lnTo>
                <a:lnTo>
                  <a:pt x="1037051" y="943976"/>
                </a:lnTo>
                <a:lnTo>
                  <a:pt x="1029230" y="949566"/>
                </a:lnTo>
                <a:cubicBezTo>
                  <a:pt x="1018551" y="957187"/>
                  <a:pt x="1006844" y="956610"/>
                  <a:pt x="997068" y="947987"/>
                </a:cubicBezTo>
                <a:lnTo>
                  <a:pt x="988921" y="940792"/>
                </a:lnTo>
                <a:lnTo>
                  <a:pt x="988921" y="829166"/>
                </a:lnTo>
                <a:lnTo>
                  <a:pt x="988921" y="717540"/>
                </a:lnTo>
                <a:lnTo>
                  <a:pt x="979219" y="708967"/>
                </a:lnTo>
                <a:cubicBezTo>
                  <a:pt x="965809" y="697160"/>
                  <a:pt x="948938" y="697160"/>
                  <a:pt x="935527" y="708967"/>
                </a:cubicBezTo>
                <a:lnTo>
                  <a:pt x="925825" y="717540"/>
                </a:lnTo>
                <a:lnTo>
                  <a:pt x="925825" y="829166"/>
                </a:lnTo>
                <a:lnTo>
                  <a:pt x="925825" y="940792"/>
                </a:lnTo>
                <a:lnTo>
                  <a:pt x="917679" y="947987"/>
                </a:lnTo>
                <a:cubicBezTo>
                  <a:pt x="907300" y="957137"/>
                  <a:pt x="894566" y="957137"/>
                  <a:pt x="884188" y="947987"/>
                </a:cubicBezTo>
                <a:lnTo>
                  <a:pt x="876016" y="940792"/>
                </a:lnTo>
                <a:lnTo>
                  <a:pt x="876016" y="798408"/>
                </a:lnTo>
                <a:lnTo>
                  <a:pt x="876016" y="656048"/>
                </a:lnTo>
                <a:lnTo>
                  <a:pt x="866315" y="647475"/>
                </a:lnTo>
                <a:cubicBezTo>
                  <a:pt x="855861" y="638251"/>
                  <a:pt x="845258" y="636747"/>
                  <a:pt x="831120" y="642412"/>
                </a:cubicBezTo>
                <a:cubicBezTo>
                  <a:pt x="812996" y="649707"/>
                  <a:pt x="812945" y="650258"/>
                  <a:pt x="812945" y="801416"/>
                </a:cubicBezTo>
                <a:lnTo>
                  <a:pt x="812945" y="940792"/>
                </a:lnTo>
                <a:lnTo>
                  <a:pt x="804798" y="947987"/>
                </a:lnTo>
                <a:cubicBezTo>
                  <a:pt x="800311" y="951923"/>
                  <a:pt x="794396" y="955157"/>
                  <a:pt x="791663" y="955157"/>
                </a:cubicBezTo>
                <a:cubicBezTo>
                  <a:pt x="782338" y="955157"/>
                  <a:pt x="770531" y="948689"/>
                  <a:pt x="766821" y="941520"/>
                </a:cubicBezTo>
                <a:cubicBezTo>
                  <a:pt x="764314" y="936682"/>
                  <a:pt x="763136" y="896849"/>
                  <a:pt x="763136" y="817184"/>
                </a:cubicBezTo>
                <a:lnTo>
                  <a:pt x="763136" y="699967"/>
                </a:lnTo>
                <a:lnTo>
                  <a:pt x="753435" y="691394"/>
                </a:lnTo>
                <a:cubicBezTo>
                  <a:pt x="737868" y="677682"/>
                  <a:pt x="714730" y="681342"/>
                  <a:pt x="705204" y="699065"/>
                </a:cubicBezTo>
                <a:cubicBezTo>
                  <a:pt x="700768" y="707312"/>
                  <a:pt x="700066" y="729647"/>
                  <a:pt x="700066" y="862306"/>
                </a:cubicBezTo>
                <a:cubicBezTo>
                  <a:pt x="700066" y="1007323"/>
                  <a:pt x="699715" y="1016397"/>
                  <a:pt x="693924" y="1022689"/>
                </a:cubicBezTo>
                <a:cubicBezTo>
                  <a:pt x="685852" y="1031488"/>
                  <a:pt x="669057" y="1031588"/>
                  <a:pt x="659205" y="1022940"/>
                </a:cubicBezTo>
                <a:cubicBezTo>
                  <a:pt x="652437" y="1016973"/>
                  <a:pt x="651810" y="1013038"/>
                  <a:pt x="650256" y="967239"/>
                </a:cubicBezTo>
                <a:cubicBezTo>
                  <a:pt x="648426" y="913243"/>
                  <a:pt x="647524" y="910686"/>
                  <a:pt x="627570" y="903316"/>
                </a:cubicBezTo>
                <a:cubicBezTo>
                  <a:pt x="613682" y="898203"/>
                  <a:pt x="597037" y="902339"/>
                  <a:pt x="587236" y="913319"/>
                </a:cubicBezTo>
                <a:cubicBezTo>
                  <a:pt x="580793" y="920538"/>
                  <a:pt x="580543" y="924975"/>
                  <a:pt x="580543" y="1028305"/>
                </a:cubicBezTo>
                <a:cubicBezTo>
                  <a:pt x="580543" y="1170589"/>
                  <a:pt x="580718" y="1171215"/>
                  <a:pt x="642435" y="1252109"/>
                </a:cubicBezTo>
                <a:lnTo>
                  <a:pt x="673494" y="1292844"/>
                </a:lnTo>
                <a:lnTo>
                  <a:pt x="673494" y="1340698"/>
                </a:lnTo>
                <a:lnTo>
                  <a:pt x="673494" y="1388527"/>
                </a:lnTo>
                <a:lnTo>
                  <a:pt x="859421" y="1388527"/>
                </a:lnTo>
                <a:lnTo>
                  <a:pt x="1045348" y="1388527"/>
                </a:lnTo>
                <a:lnTo>
                  <a:pt x="1045348" y="1338843"/>
                </a:lnTo>
                <a:lnTo>
                  <a:pt x="1045348" y="1289134"/>
                </a:lnTo>
                <a:lnTo>
                  <a:pt x="1058283" y="1266372"/>
                </a:lnTo>
                <a:cubicBezTo>
                  <a:pt x="1085582" y="1218217"/>
                  <a:pt x="1096361" y="1180741"/>
                  <a:pt x="1100372" y="1119751"/>
                </a:cubicBezTo>
                <a:cubicBezTo>
                  <a:pt x="1102603" y="1086111"/>
                  <a:pt x="1103305" y="1083403"/>
                  <a:pt x="1111026" y="1078038"/>
                </a:cubicBezTo>
                <a:cubicBezTo>
                  <a:pt x="1121930" y="1070468"/>
                  <a:pt x="1129325" y="1070794"/>
                  <a:pt x="1140581" y="1079317"/>
                </a:cubicBezTo>
                <a:lnTo>
                  <a:pt x="1149830" y="1086336"/>
                </a:lnTo>
                <a:lnTo>
                  <a:pt x="1148878" y="1120829"/>
                </a:lnTo>
                <a:cubicBezTo>
                  <a:pt x="1147299" y="1177983"/>
                  <a:pt x="1134865" y="1225713"/>
                  <a:pt x="1108419" y="1276224"/>
                </a:cubicBezTo>
                <a:cubicBezTo>
                  <a:pt x="1096035" y="1299838"/>
                  <a:pt x="1095860" y="1300640"/>
                  <a:pt x="1093453" y="1348895"/>
                </a:cubicBezTo>
                <a:lnTo>
                  <a:pt x="1091022" y="1397702"/>
                </a:lnTo>
                <a:lnTo>
                  <a:pt x="1099520" y="1405573"/>
                </a:lnTo>
                <a:cubicBezTo>
                  <a:pt x="1112179" y="1417255"/>
                  <a:pt x="1115087" y="1427007"/>
                  <a:pt x="1115087" y="1457664"/>
                </a:cubicBezTo>
                <a:cubicBezTo>
                  <a:pt x="1115087" y="1483233"/>
                  <a:pt x="1114435" y="1485991"/>
                  <a:pt x="1106940" y="1492608"/>
                </a:cubicBezTo>
                <a:cubicBezTo>
                  <a:pt x="1097865" y="1500630"/>
                  <a:pt x="1092726" y="1501382"/>
                  <a:pt x="1080543" y="1496469"/>
                </a:cubicBezTo>
                <a:cubicBezTo>
                  <a:pt x="1069313" y="1491956"/>
                  <a:pt x="1067583" y="1487645"/>
                  <a:pt x="1065452" y="1458817"/>
                </a:cubicBezTo>
                <a:lnTo>
                  <a:pt x="1063623" y="1433925"/>
                </a:lnTo>
                <a:lnTo>
                  <a:pt x="859421" y="1433925"/>
                </a:lnTo>
                <a:lnTo>
                  <a:pt x="655244" y="1433925"/>
                </a:lnTo>
                <a:lnTo>
                  <a:pt x="653465" y="1459870"/>
                </a:lnTo>
                <a:cubicBezTo>
                  <a:pt x="651860" y="1483684"/>
                  <a:pt x="650958" y="1486417"/>
                  <a:pt x="642485" y="1492809"/>
                </a:cubicBezTo>
                <a:cubicBezTo>
                  <a:pt x="633210" y="1499853"/>
                  <a:pt x="629500" y="1500680"/>
                  <a:pt x="620375" y="1497722"/>
                </a:cubicBezTo>
                <a:close/>
              </a:path>
            </a:pathLst>
          </a:custGeom>
          <a:solidFill>
            <a:srgbClr val="509AAF"/>
          </a:solidFill>
          <a:ln w="3107" cap="flat">
            <a:noFill/>
            <a:prstDash val="solid"/>
            <a:miter/>
          </a:ln>
        </p:spPr>
        <p:txBody>
          <a:bodyPr vert="horz" rtlCol="0" anchor="t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00163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A120F-83F5-4E8A-83FC-FD3658419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cs typeface="Poppins Black" panose="020B0604020202020204" charset="0"/>
              </a:rPr>
              <a:t>Most well-known media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BB6AF6-FC52-4A39-BFEC-051D99FA0E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FA8F66-D3AE-4A05-BE79-BC39C70008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3B6932B-3B64-4FD7-B958-62B64FFABC20}"/>
              </a:ext>
            </a:extLst>
          </p:cNvPr>
          <p:cNvSpPr/>
          <p:nvPr/>
        </p:nvSpPr>
        <p:spPr>
          <a:xfrm flipH="1">
            <a:off x="898376" y="1520825"/>
            <a:ext cx="8593603" cy="844289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0" tIns="37148" rIns="7312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975" dirty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06FF2BC-8768-419D-B3DA-B87903E88112}"/>
              </a:ext>
            </a:extLst>
          </p:cNvPr>
          <p:cNvSpPr/>
          <p:nvPr/>
        </p:nvSpPr>
        <p:spPr>
          <a:xfrm flipH="1">
            <a:off x="416633" y="1520826"/>
            <a:ext cx="2779776" cy="844289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99C9C0-D041-4E45-A8B3-6B9998C9E615}"/>
              </a:ext>
            </a:extLst>
          </p:cNvPr>
          <p:cNvSpPr txBox="1"/>
          <p:nvPr/>
        </p:nvSpPr>
        <p:spPr>
          <a:xfrm>
            <a:off x="1133596" y="1736216"/>
            <a:ext cx="1345849" cy="513873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Light" panose="020B0403050203000203" pitchFamily="34" charset="0"/>
              </a:rPr>
              <a:t>Broadcast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268C2C-28D4-48B2-96C1-31DED2617444}"/>
              </a:ext>
            </a:extLst>
          </p:cNvPr>
          <p:cNvSpPr txBox="1"/>
          <p:nvPr/>
        </p:nvSpPr>
        <p:spPr>
          <a:xfrm>
            <a:off x="6315458" y="1553976"/>
            <a:ext cx="3064271" cy="685163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algn="r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</a:rPr>
              <a:t>The main sources of the broadcast are television and radio.</a:t>
            </a:r>
            <a:endParaRPr lang="en-IN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252919B-1AE5-4DEE-9661-32F2AD3E8306}"/>
              </a:ext>
            </a:extLst>
          </p:cNvPr>
          <p:cNvGrpSpPr/>
          <p:nvPr/>
        </p:nvGrpSpPr>
        <p:grpSpPr>
          <a:xfrm>
            <a:off x="2409646" y="1592524"/>
            <a:ext cx="685163" cy="685163"/>
            <a:chOff x="2409646" y="1592524"/>
            <a:chExt cx="685163" cy="685163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2E350B2A-A46E-40E8-B8B5-667BEDFAE738}"/>
                </a:ext>
              </a:extLst>
            </p:cNvPr>
            <p:cNvSpPr/>
            <p:nvPr/>
          </p:nvSpPr>
          <p:spPr>
            <a:xfrm flipH="1">
              <a:off x="2409646" y="1592524"/>
              <a:ext cx="685163" cy="685163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975" b="1" dirty="0">
                <a:solidFill>
                  <a:prstClr val="white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5D74DAC-A134-4AF5-8841-F2057F55A3C1}"/>
                </a:ext>
              </a:extLst>
            </p:cNvPr>
            <p:cNvSpPr/>
            <p:nvPr/>
          </p:nvSpPr>
          <p:spPr>
            <a:xfrm>
              <a:off x="2561904" y="1744782"/>
              <a:ext cx="380646" cy="380646"/>
            </a:xfrm>
            <a:custGeom>
              <a:avLst/>
              <a:gdLst>
                <a:gd name="connsiteX0" fmla="*/ 651960 w 2279787"/>
                <a:gd name="connsiteY0" fmla="*/ 1973397 h 1980857"/>
                <a:gd name="connsiteX1" fmla="*/ 639274 w 2279787"/>
                <a:gd name="connsiteY1" fmla="*/ 1952392 h 1980857"/>
                <a:gd name="connsiteX2" fmla="*/ 690428 w 2279787"/>
                <a:gd name="connsiteY2" fmla="*/ 1923342 h 1980857"/>
                <a:gd name="connsiteX3" fmla="*/ 718709 w 2279787"/>
                <a:gd name="connsiteY3" fmla="*/ 1914610 h 1980857"/>
                <a:gd name="connsiteX4" fmla="*/ 733399 w 2279787"/>
                <a:gd name="connsiteY4" fmla="*/ 1859420 h 1980857"/>
                <a:gd name="connsiteX5" fmla="*/ 764591 w 2279787"/>
                <a:gd name="connsiteY5" fmla="*/ 1783884 h 1980857"/>
                <a:gd name="connsiteX6" fmla="*/ 808496 w 2279787"/>
                <a:gd name="connsiteY6" fmla="*/ 1788278 h 1980857"/>
                <a:gd name="connsiteX7" fmla="*/ 815909 w 2279787"/>
                <a:gd name="connsiteY7" fmla="*/ 1818289 h 1980857"/>
                <a:gd name="connsiteX8" fmla="*/ 801439 w 2279787"/>
                <a:gd name="connsiteY8" fmla="*/ 1881689 h 1980857"/>
                <a:gd name="connsiteX9" fmla="*/ 789852 w 2279787"/>
                <a:gd name="connsiteY9" fmla="*/ 1923342 h 1980857"/>
                <a:gd name="connsiteX10" fmla="*/ 827771 w 2279787"/>
                <a:gd name="connsiteY10" fmla="*/ 1923342 h 1980857"/>
                <a:gd name="connsiteX11" fmla="*/ 865718 w 2279787"/>
                <a:gd name="connsiteY11" fmla="*/ 1920432 h 1980857"/>
                <a:gd name="connsiteX12" fmla="*/ 1111052 w 2279787"/>
                <a:gd name="connsiteY12" fmla="*/ 1013725 h 1980857"/>
                <a:gd name="connsiteX13" fmla="*/ 1171321 w 2279787"/>
                <a:gd name="connsiteY13" fmla="*/ 1018201 h 1980857"/>
                <a:gd name="connsiteX14" fmla="*/ 1296720 w 2279787"/>
                <a:gd name="connsiteY14" fmla="*/ 1476029 h 1980857"/>
                <a:gd name="connsiteX15" fmla="*/ 1417149 w 2279787"/>
                <a:gd name="connsiteY15" fmla="*/ 1922546 h 1980857"/>
                <a:gd name="connsiteX16" fmla="*/ 1454355 w 2279787"/>
                <a:gd name="connsiteY16" fmla="*/ 1922546 h 1980857"/>
                <a:gd name="connsiteX17" fmla="*/ 1490214 w 2279787"/>
                <a:gd name="connsiteY17" fmla="*/ 1921392 h 1980857"/>
                <a:gd name="connsiteX18" fmla="*/ 1407045 w 2279787"/>
                <a:gd name="connsiteY18" fmla="*/ 1611560 h 1980857"/>
                <a:gd name="connsiteX19" fmla="*/ 1323629 w 2279787"/>
                <a:gd name="connsiteY19" fmla="*/ 1289152 h 1980857"/>
                <a:gd name="connsiteX20" fmla="*/ 1332992 w 2279787"/>
                <a:gd name="connsiteY20" fmla="*/ 1268834 h 1980857"/>
                <a:gd name="connsiteX21" fmla="*/ 1382800 w 2279787"/>
                <a:gd name="connsiteY21" fmla="*/ 1268148 h 1980857"/>
                <a:gd name="connsiteX22" fmla="*/ 1475058 w 2279787"/>
                <a:gd name="connsiteY22" fmla="*/ 1590555 h 1980857"/>
                <a:gd name="connsiteX23" fmla="*/ 1561879 w 2279787"/>
                <a:gd name="connsiteY23" fmla="*/ 1914610 h 1980857"/>
                <a:gd name="connsiteX24" fmla="*/ 1598260 w 2279787"/>
                <a:gd name="connsiteY24" fmla="*/ 1923342 h 1980857"/>
                <a:gd name="connsiteX25" fmla="*/ 1643950 w 2279787"/>
                <a:gd name="connsiteY25" fmla="*/ 1932842 h 1980857"/>
                <a:gd name="connsiteX26" fmla="*/ 1655756 w 2279787"/>
                <a:gd name="connsiteY26" fmla="*/ 1952392 h 1980857"/>
                <a:gd name="connsiteX27" fmla="*/ 1643950 w 2279787"/>
                <a:gd name="connsiteY27" fmla="*/ 1971915 h 1980857"/>
                <a:gd name="connsiteX28" fmla="*/ 1632115 w 2279787"/>
                <a:gd name="connsiteY28" fmla="*/ 1981414 h 1980857"/>
                <a:gd name="connsiteX29" fmla="*/ 1148394 w 2279787"/>
                <a:gd name="connsiteY29" fmla="*/ 1981414 h 1980857"/>
                <a:gd name="connsiteX30" fmla="*/ 651960 w 2279787"/>
                <a:gd name="connsiteY30" fmla="*/ 1973397 h 1980857"/>
                <a:gd name="connsiteX31" fmla="*/ 1340295 w 2279787"/>
                <a:gd name="connsiteY31" fmla="*/ 1914610 h 1980857"/>
                <a:gd name="connsiteX32" fmla="*/ 1313607 w 2279787"/>
                <a:gd name="connsiteY32" fmla="*/ 1815131 h 1980857"/>
                <a:gd name="connsiteX33" fmla="*/ 1287769 w 2279787"/>
                <a:gd name="connsiteY33" fmla="*/ 1723038 h 1980857"/>
                <a:gd name="connsiteX34" fmla="*/ 1117312 w 2279787"/>
                <a:gd name="connsiteY34" fmla="*/ 1799782 h 1980857"/>
                <a:gd name="connsiteX35" fmla="*/ 948502 w 2279787"/>
                <a:gd name="connsiteY35" fmla="*/ 1877844 h 1980857"/>
                <a:gd name="connsiteX36" fmla="*/ 945262 w 2279787"/>
                <a:gd name="connsiteY36" fmla="*/ 1895280 h 1980857"/>
                <a:gd name="connsiteX37" fmla="*/ 939469 w 2279787"/>
                <a:gd name="connsiteY37" fmla="*/ 1918015 h 1980857"/>
                <a:gd name="connsiteX38" fmla="*/ 1139882 w 2279787"/>
                <a:gd name="connsiteY38" fmla="*/ 1923342 h 1980857"/>
                <a:gd name="connsiteX39" fmla="*/ 1342821 w 2279787"/>
                <a:gd name="connsiteY39" fmla="*/ 1923342 h 1980857"/>
                <a:gd name="connsiteX40" fmla="*/ 1141694 w 2279787"/>
                <a:gd name="connsiteY40" fmla="*/ 1722104 h 1980857"/>
                <a:gd name="connsiteX41" fmla="*/ 1246143 w 2279787"/>
                <a:gd name="connsiteY41" fmla="*/ 1671748 h 1980857"/>
                <a:gd name="connsiteX42" fmla="*/ 1040705 w 2279787"/>
                <a:gd name="connsiteY42" fmla="*/ 1545113 h 1980857"/>
                <a:gd name="connsiteX43" fmla="*/ 971676 w 2279787"/>
                <a:gd name="connsiteY43" fmla="*/ 1797970 h 1980857"/>
                <a:gd name="connsiteX44" fmla="*/ 1141694 w 2279787"/>
                <a:gd name="connsiteY44" fmla="*/ 1722104 h 1980857"/>
                <a:gd name="connsiteX45" fmla="*/ 1230602 w 2279787"/>
                <a:gd name="connsiteY45" fmla="*/ 1503789 h 1980857"/>
                <a:gd name="connsiteX46" fmla="*/ 1201662 w 2279787"/>
                <a:gd name="connsiteY46" fmla="*/ 1408264 h 1980857"/>
                <a:gd name="connsiteX47" fmla="*/ 1080079 w 2279787"/>
                <a:gd name="connsiteY47" fmla="*/ 1490170 h 1980857"/>
                <a:gd name="connsiteX48" fmla="*/ 1254518 w 2279787"/>
                <a:gd name="connsiteY48" fmla="*/ 1600412 h 1980857"/>
                <a:gd name="connsiteX49" fmla="*/ 1230602 w 2279787"/>
                <a:gd name="connsiteY49" fmla="*/ 1503789 h 1980857"/>
                <a:gd name="connsiteX50" fmla="*/ 1134363 w 2279787"/>
                <a:gd name="connsiteY50" fmla="*/ 1375754 h 1980857"/>
                <a:gd name="connsiteX51" fmla="*/ 1186944 w 2279787"/>
                <a:gd name="connsiteY51" fmla="*/ 1341322 h 1980857"/>
                <a:gd name="connsiteX52" fmla="*/ 1175824 w 2279787"/>
                <a:gd name="connsiteY52" fmla="*/ 1300246 h 1980857"/>
                <a:gd name="connsiteX53" fmla="*/ 1153940 w 2279787"/>
                <a:gd name="connsiteY53" fmla="*/ 1217516 h 1980857"/>
                <a:gd name="connsiteX54" fmla="*/ 1140541 w 2279787"/>
                <a:gd name="connsiteY54" fmla="*/ 1175863 h 1980857"/>
                <a:gd name="connsiteX55" fmla="*/ 1106192 w 2279787"/>
                <a:gd name="connsiteY55" fmla="*/ 1294095 h 1980857"/>
                <a:gd name="connsiteX56" fmla="*/ 1078157 w 2279787"/>
                <a:gd name="connsiteY56" fmla="*/ 1411257 h 1980857"/>
                <a:gd name="connsiteX57" fmla="*/ 1134363 w 2279787"/>
                <a:gd name="connsiteY57" fmla="*/ 1375754 h 1980857"/>
                <a:gd name="connsiteX58" fmla="*/ 792516 w 2279787"/>
                <a:gd name="connsiteY58" fmla="*/ 1707415 h 1980857"/>
                <a:gd name="connsiteX59" fmla="*/ 781807 w 2279787"/>
                <a:gd name="connsiteY59" fmla="*/ 1695773 h 1980857"/>
                <a:gd name="connsiteX60" fmla="*/ 997432 w 2279787"/>
                <a:gd name="connsiteY60" fmla="*/ 893405 h 1980857"/>
                <a:gd name="connsiteX61" fmla="*/ 1029173 w 2279787"/>
                <a:gd name="connsiteY61" fmla="*/ 867266 h 1980857"/>
                <a:gd name="connsiteX62" fmla="*/ 1140294 w 2279787"/>
                <a:gd name="connsiteY62" fmla="*/ 858287 h 1980857"/>
                <a:gd name="connsiteX63" fmla="*/ 1251415 w 2279787"/>
                <a:gd name="connsiteY63" fmla="*/ 867266 h 1980857"/>
                <a:gd name="connsiteX64" fmla="*/ 1283129 w 2279787"/>
                <a:gd name="connsiteY64" fmla="*/ 893405 h 1980857"/>
                <a:gd name="connsiteX65" fmla="*/ 1328571 w 2279787"/>
                <a:gd name="connsiteY65" fmla="*/ 1041485 h 1980857"/>
                <a:gd name="connsiteX66" fmla="*/ 1363415 w 2279787"/>
                <a:gd name="connsiteY66" fmla="*/ 1172375 h 1980857"/>
                <a:gd name="connsiteX67" fmla="*/ 1353750 w 2279787"/>
                <a:gd name="connsiteY67" fmla="*/ 1182837 h 1980857"/>
                <a:gd name="connsiteX68" fmla="*/ 1327555 w 2279787"/>
                <a:gd name="connsiteY68" fmla="*/ 1194451 h 1980857"/>
                <a:gd name="connsiteX69" fmla="*/ 1258554 w 2279787"/>
                <a:gd name="connsiteY69" fmla="*/ 1055818 h 1980857"/>
                <a:gd name="connsiteX70" fmla="*/ 1223683 w 2279787"/>
                <a:gd name="connsiteY70" fmla="*/ 925092 h 1980857"/>
                <a:gd name="connsiteX71" fmla="*/ 1139772 w 2279787"/>
                <a:gd name="connsiteY71" fmla="*/ 916387 h 1980857"/>
                <a:gd name="connsiteX72" fmla="*/ 1058388 w 2279787"/>
                <a:gd name="connsiteY72" fmla="*/ 918200 h 1980857"/>
                <a:gd name="connsiteX73" fmla="*/ 850890 w 2279787"/>
                <a:gd name="connsiteY73" fmla="*/ 1691874 h 1980857"/>
                <a:gd name="connsiteX74" fmla="*/ 836942 w 2279787"/>
                <a:gd name="connsiteY74" fmla="*/ 1710270 h 1980857"/>
                <a:gd name="connsiteX75" fmla="*/ 792516 w 2279787"/>
                <a:gd name="connsiteY75" fmla="*/ 1707415 h 1980857"/>
                <a:gd name="connsiteX76" fmla="*/ 391167 w 2279787"/>
                <a:gd name="connsiteY76" fmla="*/ 1610132 h 1980857"/>
                <a:gd name="connsiteX77" fmla="*/ 238338 w 2279787"/>
                <a:gd name="connsiteY77" fmla="*/ 1481576 h 1980857"/>
                <a:gd name="connsiteX78" fmla="*/ 12013 w 2279787"/>
                <a:gd name="connsiteY78" fmla="*/ 1063561 h 1980857"/>
                <a:gd name="connsiteX79" fmla="*/ 9725 w 2279787"/>
                <a:gd name="connsiteY79" fmla="*/ 780967 h 1980857"/>
                <a:gd name="connsiteX80" fmla="*/ 632053 w 2279787"/>
                <a:gd name="connsiteY80" fmla="*/ 95239 h 1980857"/>
                <a:gd name="connsiteX81" fmla="*/ 978898 w 2279787"/>
                <a:gd name="connsiteY81" fmla="*/ 7786 h 1980857"/>
                <a:gd name="connsiteX82" fmla="*/ 1299549 w 2279787"/>
                <a:gd name="connsiteY82" fmla="*/ 7457 h 1980857"/>
                <a:gd name="connsiteX83" fmla="*/ 1946698 w 2279787"/>
                <a:gd name="connsiteY83" fmla="*/ 267426 h 1980857"/>
                <a:gd name="connsiteX84" fmla="*/ 2270835 w 2279787"/>
                <a:gd name="connsiteY84" fmla="*/ 780967 h 1980857"/>
                <a:gd name="connsiteX85" fmla="*/ 2270753 w 2279787"/>
                <a:gd name="connsiteY85" fmla="*/ 1053868 h 1980857"/>
                <a:gd name="connsiteX86" fmla="*/ 2052739 w 2279787"/>
                <a:gd name="connsiteY86" fmla="*/ 1470209 h 1980857"/>
                <a:gd name="connsiteX87" fmla="*/ 1875747 w 2279787"/>
                <a:gd name="connsiteY87" fmla="*/ 1615761 h 1980857"/>
                <a:gd name="connsiteX88" fmla="*/ 1834973 w 2279787"/>
                <a:gd name="connsiteY88" fmla="*/ 1589375 h 1980857"/>
                <a:gd name="connsiteX89" fmla="*/ 1882474 w 2279787"/>
                <a:gd name="connsiteY89" fmla="*/ 1537479 h 1980857"/>
                <a:gd name="connsiteX90" fmla="*/ 2101504 w 2279787"/>
                <a:gd name="connsiteY90" fmla="*/ 1293985 h 1980857"/>
                <a:gd name="connsiteX91" fmla="*/ 2156144 w 2279787"/>
                <a:gd name="connsiteY91" fmla="*/ 647220 h 1980857"/>
                <a:gd name="connsiteX92" fmla="*/ 1405919 w 2279787"/>
                <a:gd name="connsiteY92" fmla="*/ 83542 h 1980857"/>
                <a:gd name="connsiteX93" fmla="*/ 1178844 w 2279787"/>
                <a:gd name="connsiteY93" fmla="*/ 57924 h 1980857"/>
                <a:gd name="connsiteX94" fmla="*/ 124251 w 2279787"/>
                <a:gd name="connsiteY94" fmla="*/ 647742 h 1980857"/>
                <a:gd name="connsiteX95" fmla="*/ 70901 w 2279787"/>
                <a:gd name="connsiteY95" fmla="*/ 918337 h 1980857"/>
                <a:gd name="connsiteX96" fmla="*/ 179112 w 2279787"/>
                <a:gd name="connsiteY96" fmla="*/ 1293985 h 1980857"/>
                <a:gd name="connsiteX97" fmla="*/ 397867 w 2279787"/>
                <a:gd name="connsiteY97" fmla="*/ 1537287 h 1980857"/>
                <a:gd name="connsiteX98" fmla="*/ 446577 w 2279787"/>
                <a:gd name="connsiteY98" fmla="*/ 1588304 h 1980857"/>
                <a:gd name="connsiteX99" fmla="*/ 433891 w 2279787"/>
                <a:gd name="connsiteY99" fmla="*/ 1609364 h 1980857"/>
                <a:gd name="connsiteX100" fmla="*/ 391194 w 2279787"/>
                <a:gd name="connsiteY100" fmla="*/ 1610132 h 1980857"/>
                <a:gd name="connsiteX101" fmla="*/ 628758 w 2279787"/>
                <a:gd name="connsiteY101" fmla="*/ 1439593 h 1980857"/>
                <a:gd name="connsiteX102" fmla="*/ 399652 w 2279787"/>
                <a:gd name="connsiteY102" fmla="*/ 1212656 h 1980857"/>
                <a:gd name="connsiteX103" fmla="*/ 314917 w 2279787"/>
                <a:gd name="connsiteY103" fmla="*/ 914466 h 1980857"/>
                <a:gd name="connsiteX104" fmla="*/ 355335 w 2279787"/>
                <a:gd name="connsiteY104" fmla="*/ 709467 h 1980857"/>
                <a:gd name="connsiteX105" fmla="*/ 771757 w 2279787"/>
                <a:gd name="connsiteY105" fmla="*/ 323824 h 1980857"/>
                <a:gd name="connsiteX106" fmla="*/ 978129 w 2279787"/>
                <a:gd name="connsiteY106" fmla="*/ 264900 h 1980857"/>
                <a:gd name="connsiteX107" fmla="*/ 1140294 w 2279787"/>
                <a:gd name="connsiteY107" fmla="*/ 256306 h 1980857"/>
                <a:gd name="connsiteX108" fmla="*/ 1304079 w 2279787"/>
                <a:gd name="connsiteY108" fmla="*/ 265120 h 1980857"/>
                <a:gd name="connsiteX109" fmla="*/ 1671517 w 2279787"/>
                <a:gd name="connsiteY109" fmla="*/ 408147 h 1980857"/>
                <a:gd name="connsiteX110" fmla="*/ 1706553 w 2279787"/>
                <a:gd name="connsiteY110" fmla="*/ 473111 h 1980857"/>
                <a:gd name="connsiteX111" fmla="*/ 1633378 w 2279787"/>
                <a:gd name="connsiteY111" fmla="*/ 457186 h 1980857"/>
                <a:gd name="connsiteX112" fmla="*/ 1329615 w 2279787"/>
                <a:gd name="connsiteY112" fmla="*/ 330167 h 1980857"/>
                <a:gd name="connsiteX113" fmla="*/ 1192106 w 2279787"/>
                <a:gd name="connsiteY113" fmla="*/ 312319 h 1980857"/>
                <a:gd name="connsiteX114" fmla="*/ 404100 w 2279787"/>
                <a:gd name="connsiteY114" fmla="*/ 782779 h 1980857"/>
                <a:gd name="connsiteX115" fmla="*/ 517417 w 2279787"/>
                <a:gd name="connsiteY115" fmla="*/ 1260212 h 1980857"/>
                <a:gd name="connsiteX116" fmla="*/ 671784 w 2279787"/>
                <a:gd name="connsiteY116" fmla="*/ 1393519 h 1980857"/>
                <a:gd name="connsiteX117" fmla="*/ 711543 w 2279787"/>
                <a:gd name="connsiteY117" fmla="*/ 1433332 h 1980857"/>
                <a:gd name="connsiteX118" fmla="*/ 675079 w 2279787"/>
                <a:gd name="connsiteY118" fmla="*/ 1462465 h 1980857"/>
                <a:gd name="connsiteX119" fmla="*/ 628758 w 2279787"/>
                <a:gd name="connsiteY119" fmla="*/ 1439593 h 1980857"/>
                <a:gd name="connsiteX120" fmla="*/ 1581731 w 2279787"/>
                <a:gd name="connsiteY120" fmla="*/ 1454448 h 1980857"/>
                <a:gd name="connsiteX121" fmla="*/ 1569045 w 2279787"/>
                <a:gd name="connsiteY121" fmla="*/ 1433332 h 1980857"/>
                <a:gd name="connsiteX122" fmla="*/ 1608831 w 2279787"/>
                <a:gd name="connsiteY122" fmla="*/ 1393546 h 1980857"/>
                <a:gd name="connsiteX123" fmla="*/ 1857707 w 2279787"/>
                <a:gd name="connsiteY123" fmla="*/ 1103566 h 1980857"/>
                <a:gd name="connsiteX124" fmla="*/ 1893622 w 2279787"/>
                <a:gd name="connsiteY124" fmla="*/ 916387 h 1980857"/>
                <a:gd name="connsiteX125" fmla="*/ 1885000 w 2279787"/>
                <a:gd name="connsiteY125" fmla="*/ 813751 h 1980857"/>
                <a:gd name="connsiteX126" fmla="*/ 1770749 w 2279787"/>
                <a:gd name="connsiteY126" fmla="*/ 582942 h 1980857"/>
                <a:gd name="connsiteX127" fmla="*/ 1747300 w 2279787"/>
                <a:gd name="connsiteY127" fmla="*/ 546039 h 1980857"/>
                <a:gd name="connsiteX128" fmla="*/ 1802517 w 2279787"/>
                <a:gd name="connsiteY128" fmla="*/ 522837 h 1980857"/>
                <a:gd name="connsiteX129" fmla="*/ 1889558 w 2279787"/>
                <a:gd name="connsiteY129" fmla="*/ 635606 h 1980857"/>
                <a:gd name="connsiteX130" fmla="*/ 1652132 w 2279787"/>
                <a:gd name="connsiteY130" fmla="*/ 1439758 h 1980857"/>
                <a:gd name="connsiteX131" fmla="*/ 1581731 w 2279787"/>
                <a:gd name="connsiteY131" fmla="*/ 1454448 h 1980857"/>
                <a:gd name="connsiteX132" fmla="*/ 802208 w 2279787"/>
                <a:gd name="connsiteY132" fmla="*/ 1144725 h 1980857"/>
                <a:gd name="connsiteX133" fmla="*/ 735761 w 2279787"/>
                <a:gd name="connsiteY133" fmla="*/ 1062490 h 1980857"/>
                <a:gd name="connsiteX134" fmla="*/ 700230 w 2279787"/>
                <a:gd name="connsiteY134" fmla="*/ 916387 h 1980857"/>
                <a:gd name="connsiteX135" fmla="*/ 740291 w 2279787"/>
                <a:gd name="connsiteY135" fmla="*/ 766277 h 1980857"/>
                <a:gd name="connsiteX136" fmla="*/ 816184 w 2279787"/>
                <a:gd name="connsiteY136" fmla="*/ 676023 h 1980857"/>
                <a:gd name="connsiteX137" fmla="*/ 1506744 w 2279787"/>
                <a:gd name="connsiteY137" fmla="*/ 717320 h 1980857"/>
                <a:gd name="connsiteX138" fmla="*/ 1569979 w 2279787"/>
                <a:gd name="connsiteY138" fmla="*/ 830088 h 1980857"/>
                <a:gd name="connsiteX139" fmla="*/ 1569677 w 2279787"/>
                <a:gd name="connsiteY139" fmla="*/ 1005103 h 1980857"/>
                <a:gd name="connsiteX140" fmla="*/ 1508583 w 2279787"/>
                <a:gd name="connsiteY140" fmla="*/ 1114192 h 1980857"/>
                <a:gd name="connsiteX141" fmla="*/ 1436342 w 2279787"/>
                <a:gd name="connsiteY141" fmla="*/ 1139261 h 1980857"/>
                <a:gd name="connsiteX142" fmla="*/ 1443536 w 2279787"/>
                <a:gd name="connsiteY142" fmla="*/ 1089014 h 1980857"/>
                <a:gd name="connsiteX143" fmla="*/ 1509764 w 2279787"/>
                <a:gd name="connsiteY143" fmla="*/ 931736 h 1980857"/>
                <a:gd name="connsiteX144" fmla="*/ 1259268 w 2279787"/>
                <a:gd name="connsiteY144" fmla="*/ 635661 h 1980857"/>
                <a:gd name="connsiteX145" fmla="*/ 1021320 w 2279787"/>
                <a:gd name="connsiteY145" fmla="*/ 635661 h 1980857"/>
                <a:gd name="connsiteX146" fmla="*/ 770824 w 2279787"/>
                <a:gd name="connsiteY146" fmla="*/ 931736 h 1980857"/>
                <a:gd name="connsiteX147" fmla="*/ 837052 w 2279787"/>
                <a:gd name="connsiteY147" fmla="*/ 1089014 h 1980857"/>
                <a:gd name="connsiteX148" fmla="*/ 844246 w 2279787"/>
                <a:gd name="connsiteY148" fmla="*/ 1139261 h 1980857"/>
                <a:gd name="connsiteX149" fmla="*/ 802208 w 2279787"/>
                <a:gd name="connsiteY149" fmla="*/ 1144725 h 198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2279787" h="1980857">
                  <a:moveTo>
                    <a:pt x="651960" y="1973397"/>
                  </a:moveTo>
                  <a:cubicBezTo>
                    <a:pt x="642761" y="1967576"/>
                    <a:pt x="639274" y="1961810"/>
                    <a:pt x="639274" y="1952392"/>
                  </a:cubicBezTo>
                  <a:cubicBezTo>
                    <a:pt x="639274" y="1933473"/>
                    <a:pt x="657122" y="1923342"/>
                    <a:pt x="690428" y="1923342"/>
                  </a:cubicBezTo>
                  <a:cubicBezTo>
                    <a:pt x="713163" y="1923342"/>
                    <a:pt x="716458" y="1922326"/>
                    <a:pt x="718709" y="1914610"/>
                  </a:cubicBezTo>
                  <a:cubicBezTo>
                    <a:pt x="720082" y="1909833"/>
                    <a:pt x="726699" y="1884983"/>
                    <a:pt x="733399" y="1859420"/>
                  </a:cubicBezTo>
                  <a:cubicBezTo>
                    <a:pt x="748995" y="1799920"/>
                    <a:pt x="753663" y="1788580"/>
                    <a:pt x="764591" y="1783884"/>
                  </a:cubicBezTo>
                  <a:cubicBezTo>
                    <a:pt x="779144" y="1777624"/>
                    <a:pt x="797540" y="1779464"/>
                    <a:pt x="808496" y="1788278"/>
                  </a:cubicBezTo>
                  <a:cubicBezTo>
                    <a:pt x="817365" y="1795417"/>
                    <a:pt x="818381" y="1799453"/>
                    <a:pt x="815909" y="1818289"/>
                  </a:cubicBezTo>
                  <a:cubicBezTo>
                    <a:pt x="814317" y="1830260"/>
                    <a:pt x="807837" y="1858789"/>
                    <a:pt x="801439" y="1881689"/>
                  </a:cubicBezTo>
                  <a:lnTo>
                    <a:pt x="789852" y="1923342"/>
                  </a:lnTo>
                  <a:lnTo>
                    <a:pt x="827771" y="1923342"/>
                  </a:lnTo>
                  <a:cubicBezTo>
                    <a:pt x="848639" y="1923342"/>
                    <a:pt x="865718" y="1922024"/>
                    <a:pt x="865718" y="1920432"/>
                  </a:cubicBezTo>
                  <a:cubicBezTo>
                    <a:pt x="865772" y="1910546"/>
                    <a:pt x="1106631" y="1020342"/>
                    <a:pt x="1111052" y="1013725"/>
                  </a:cubicBezTo>
                  <a:cubicBezTo>
                    <a:pt x="1123078" y="995658"/>
                    <a:pt x="1161354" y="998486"/>
                    <a:pt x="1171321" y="1018201"/>
                  </a:cubicBezTo>
                  <a:cubicBezTo>
                    <a:pt x="1174808" y="1025037"/>
                    <a:pt x="1231234" y="1231052"/>
                    <a:pt x="1296720" y="1476029"/>
                  </a:cubicBezTo>
                  <a:cubicBezTo>
                    <a:pt x="1362207" y="1720979"/>
                    <a:pt x="1416408" y="1921914"/>
                    <a:pt x="1417149" y="1922546"/>
                  </a:cubicBezTo>
                  <a:cubicBezTo>
                    <a:pt x="1417918" y="1923177"/>
                    <a:pt x="1434667" y="1923177"/>
                    <a:pt x="1454355" y="1922546"/>
                  </a:cubicBezTo>
                  <a:lnTo>
                    <a:pt x="1490214" y="1921392"/>
                  </a:lnTo>
                  <a:lnTo>
                    <a:pt x="1407045" y="1611560"/>
                  </a:lnTo>
                  <a:cubicBezTo>
                    <a:pt x="1361328" y="1441158"/>
                    <a:pt x="1323766" y="1296072"/>
                    <a:pt x="1323629" y="1289152"/>
                  </a:cubicBezTo>
                  <a:cubicBezTo>
                    <a:pt x="1323464" y="1281492"/>
                    <a:pt x="1327143" y="1273529"/>
                    <a:pt x="1332992" y="1268834"/>
                  </a:cubicBezTo>
                  <a:cubicBezTo>
                    <a:pt x="1345293" y="1258949"/>
                    <a:pt x="1372037" y="1258565"/>
                    <a:pt x="1382800" y="1268148"/>
                  </a:cubicBezTo>
                  <a:cubicBezTo>
                    <a:pt x="1388099" y="1272843"/>
                    <a:pt x="1418824" y="1380174"/>
                    <a:pt x="1475058" y="1590555"/>
                  </a:cubicBezTo>
                  <a:cubicBezTo>
                    <a:pt x="1521434" y="1764005"/>
                    <a:pt x="1560506" y="1909833"/>
                    <a:pt x="1561879" y="1914610"/>
                  </a:cubicBezTo>
                  <a:cubicBezTo>
                    <a:pt x="1564213" y="1922628"/>
                    <a:pt x="1567123" y="1923342"/>
                    <a:pt x="1598260" y="1923342"/>
                  </a:cubicBezTo>
                  <a:cubicBezTo>
                    <a:pt x="1627777" y="1923342"/>
                    <a:pt x="1633625" y="1924550"/>
                    <a:pt x="1643950" y="1932842"/>
                  </a:cubicBezTo>
                  <a:cubicBezTo>
                    <a:pt x="1650430" y="1938059"/>
                    <a:pt x="1655756" y="1946873"/>
                    <a:pt x="1655756" y="1952392"/>
                  </a:cubicBezTo>
                  <a:cubicBezTo>
                    <a:pt x="1655756" y="1957911"/>
                    <a:pt x="1650430" y="1966698"/>
                    <a:pt x="1643950" y="1971915"/>
                  </a:cubicBezTo>
                  <a:lnTo>
                    <a:pt x="1632115" y="1981414"/>
                  </a:lnTo>
                  <a:lnTo>
                    <a:pt x="1148394" y="1981414"/>
                  </a:lnTo>
                  <a:cubicBezTo>
                    <a:pt x="666320" y="1981414"/>
                    <a:pt x="664618" y="1981387"/>
                    <a:pt x="651960" y="1973397"/>
                  </a:cubicBezTo>
                  <a:close/>
                  <a:moveTo>
                    <a:pt x="1340295" y="1914610"/>
                  </a:moveTo>
                  <a:cubicBezTo>
                    <a:pt x="1338895" y="1909833"/>
                    <a:pt x="1326896" y="1865049"/>
                    <a:pt x="1313607" y="1815131"/>
                  </a:cubicBezTo>
                  <a:cubicBezTo>
                    <a:pt x="1300317" y="1765213"/>
                    <a:pt x="1288675" y="1723752"/>
                    <a:pt x="1287769" y="1723038"/>
                  </a:cubicBezTo>
                  <a:cubicBezTo>
                    <a:pt x="1286863" y="1722297"/>
                    <a:pt x="1210146" y="1756839"/>
                    <a:pt x="1117312" y="1799782"/>
                  </a:cubicBezTo>
                  <a:lnTo>
                    <a:pt x="948502" y="1877844"/>
                  </a:lnTo>
                  <a:lnTo>
                    <a:pt x="945262" y="1895280"/>
                  </a:lnTo>
                  <a:cubicBezTo>
                    <a:pt x="943478" y="1904863"/>
                    <a:pt x="940869" y="1915105"/>
                    <a:pt x="939469" y="1918015"/>
                  </a:cubicBezTo>
                  <a:cubicBezTo>
                    <a:pt x="937354" y="1922463"/>
                    <a:pt x="969864" y="1923342"/>
                    <a:pt x="1139882" y="1923342"/>
                  </a:cubicBezTo>
                  <a:lnTo>
                    <a:pt x="1342821" y="1923342"/>
                  </a:lnTo>
                  <a:close/>
                  <a:moveTo>
                    <a:pt x="1141694" y="1722104"/>
                  </a:moveTo>
                  <a:cubicBezTo>
                    <a:pt x="1199218" y="1695553"/>
                    <a:pt x="1246226" y="1672901"/>
                    <a:pt x="1246143" y="1671748"/>
                  </a:cubicBezTo>
                  <a:cubicBezTo>
                    <a:pt x="1245924" y="1668589"/>
                    <a:pt x="1042847" y="1543383"/>
                    <a:pt x="1040705" y="1545113"/>
                  </a:cubicBezTo>
                  <a:cubicBezTo>
                    <a:pt x="1039030" y="1546458"/>
                    <a:pt x="971676" y="1793193"/>
                    <a:pt x="971676" y="1797970"/>
                  </a:cubicBezTo>
                  <a:cubicBezTo>
                    <a:pt x="971676" y="1800222"/>
                    <a:pt x="991666" y="1791325"/>
                    <a:pt x="1141694" y="1722104"/>
                  </a:cubicBezTo>
                  <a:close/>
                  <a:moveTo>
                    <a:pt x="1230602" y="1503789"/>
                  </a:moveTo>
                  <a:cubicBezTo>
                    <a:pt x="1216709" y="1451263"/>
                    <a:pt x="1203694" y="1408264"/>
                    <a:pt x="1201662" y="1408264"/>
                  </a:cubicBezTo>
                  <a:cubicBezTo>
                    <a:pt x="1195978" y="1408236"/>
                    <a:pt x="1080079" y="1486299"/>
                    <a:pt x="1080079" y="1490170"/>
                  </a:cubicBezTo>
                  <a:cubicBezTo>
                    <a:pt x="1080079" y="1493684"/>
                    <a:pt x="1252074" y="1602390"/>
                    <a:pt x="1254518" y="1600412"/>
                  </a:cubicBezTo>
                  <a:cubicBezTo>
                    <a:pt x="1255287" y="1599809"/>
                    <a:pt x="1244523" y="1556343"/>
                    <a:pt x="1230602" y="1503789"/>
                  </a:cubicBezTo>
                  <a:close/>
                  <a:moveTo>
                    <a:pt x="1134363" y="1375754"/>
                  </a:moveTo>
                  <a:lnTo>
                    <a:pt x="1186944" y="1341322"/>
                  </a:lnTo>
                  <a:lnTo>
                    <a:pt x="1175824" y="1300246"/>
                  </a:lnTo>
                  <a:cubicBezTo>
                    <a:pt x="1169701" y="1277620"/>
                    <a:pt x="1159871" y="1240415"/>
                    <a:pt x="1153940" y="1217516"/>
                  </a:cubicBezTo>
                  <a:cubicBezTo>
                    <a:pt x="1148009" y="1194616"/>
                    <a:pt x="1141996" y="1175863"/>
                    <a:pt x="1140541" y="1175863"/>
                  </a:cubicBezTo>
                  <a:cubicBezTo>
                    <a:pt x="1139086" y="1175863"/>
                    <a:pt x="1123627" y="1229075"/>
                    <a:pt x="1106192" y="1294095"/>
                  </a:cubicBezTo>
                  <a:cubicBezTo>
                    <a:pt x="1088783" y="1359114"/>
                    <a:pt x="1076153" y="1411833"/>
                    <a:pt x="1078157" y="1411257"/>
                  </a:cubicBezTo>
                  <a:cubicBezTo>
                    <a:pt x="1080162" y="1410653"/>
                    <a:pt x="1105450" y="1394700"/>
                    <a:pt x="1134363" y="1375754"/>
                  </a:cubicBezTo>
                  <a:close/>
                  <a:moveTo>
                    <a:pt x="792516" y="1707415"/>
                  </a:moveTo>
                  <a:cubicBezTo>
                    <a:pt x="788534" y="1703681"/>
                    <a:pt x="783729" y="1698464"/>
                    <a:pt x="781807" y="1695773"/>
                  </a:cubicBezTo>
                  <a:cubicBezTo>
                    <a:pt x="776563" y="1688359"/>
                    <a:pt x="984609" y="914109"/>
                    <a:pt x="997432" y="893405"/>
                  </a:cubicBezTo>
                  <a:cubicBezTo>
                    <a:pt x="1004983" y="881187"/>
                    <a:pt x="1014126" y="873663"/>
                    <a:pt x="1029173" y="867266"/>
                  </a:cubicBezTo>
                  <a:cubicBezTo>
                    <a:pt x="1049052" y="858809"/>
                    <a:pt x="1055450" y="858287"/>
                    <a:pt x="1140294" y="858287"/>
                  </a:cubicBezTo>
                  <a:cubicBezTo>
                    <a:pt x="1225138" y="858287"/>
                    <a:pt x="1231536" y="858809"/>
                    <a:pt x="1251415" y="867266"/>
                  </a:cubicBezTo>
                  <a:cubicBezTo>
                    <a:pt x="1266489" y="873663"/>
                    <a:pt x="1275578" y="881187"/>
                    <a:pt x="1283129" y="893405"/>
                  </a:cubicBezTo>
                  <a:cubicBezTo>
                    <a:pt x="1289307" y="903400"/>
                    <a:pt x="1308280" y="965262"/>
                    <a:pt x="1328571" y="1041485"/>
                  </a:cubicBezTo>
                  <a:lnTo>
                    <a:pt x="1363415" y="1172375"/>
                  </a:lnTo>
                  <a:lnTo>
                    <a:pt x="1353750" y="1182837"/>
                  </a:lnTo>
                  <a:cubicBezTo>
                    <a:pt x="1347133" y="1190003"/>
                    <a:pt x="1338868" y="1193655"/>
                    <a:pt x="1327555" y="1194451"/>
                  </a:cubicBezTo>
                  <a:cubicBezTo>
                    <a:pt x="1297214" y="1196566"/>
                    <a:pt x="1294277" y="1190662"/>
                    <a:pt x="1258554" y="1055818"/>
                  </a:cubicBezTo>
                  <a:cubicBezTo>
                    <a:pt x="1240762" y="988711"/>
                    <a:pt x="1225083" y="929897"/>
                    <a:pt x="1223683" y="925092"/>
                  </a:cubicBezTo>
                  <a:cubicBezTo>
                    <a:pt x="1221184" y="916497"/>
                    <a:pt x="1220196" y="916387"/>
                    <a:pt x="1139772" y="916387"/>
                  </a:cubicBezTo>
                  <a:cubicBezTo>
                    <a:pt x="1095016" y="916387"/>
                    <a:pt x="1058388" y="917211"/>
                    <a:pt x="1058388" y="918200"/>
                  </a:cubicBezTo>
                  <a:cubicBezTo>
                    <a:pt x="1058388" y="921605"/>
                    <a:pt x="855695" y="1677322"/>
                    <a:pt x="850890" y="1691874"/>
                  </a:cubicBezTo>
                  <a:cubicBezTo>
                    <a:pt x="848254" y="1699809"/>
                    <a:pt x="841994" y="1708102"/>
                    <a:pt x="836942" y="1710270"/>
                  </a:cubicBezTo>
                  <a:cubicBezTo>
                    <a:pt x="822801" y="1716339"/>
                    <a:pt x="800533" y="1714938"/>
                    <a:pt x="792516" y="1707415"/>
                  </a:cubicBezTo>
                  <a:close/>
                  <a:moveTo>
                    <a:pt x="391167" y="1610132"/>
                  </a:moveTo>
                  <a:cubicBezTo>
                    <a:pt x="370107" y="1599644"/>
                    <a:pt x="275570" y="1520099"/>
                    <a:pt x="238338" y="1481576"/>
                  </a:cubicBezTo>
                  <a:cubicBezTo>
                    <a:pt x="121808" y="1360927"/>
                    <a:pt x="47677" y="1224023"/>
                    <a:pt x="12013" y="1063561"/>
                  </a:cubicBezTo>
                  <a:cubicBezTo>
                    <a:pt x="-2535" y="998101"/>
                    <a:pt x="-3737" y="849391"/>
                    <a:pt x="9725" y="780967"/>
                  </a:cubicBezTo>
                  <a:cubicBezTo>
                    <a:pt x="68586" y="481870"/>
                    <a:pt x="299678" y="227256"/>
                    <a:pt x="632053" y="95239"/>
                  </a:cubicBezTo>
                  <a:cubicBezTo>
                    <a:pt x="743257" y="51060"/>
                    <a:pt x="855531" y="22751"/>
                    <a:pt x="978898" y="7786"/>
                  </a:cubicBezTo>
                  <a:cubicBezTo>
                    <a:pt x="1057207" y="-1714"/>
                    <a:pt x="1220965" y="-1878"/>
                    <a:pt x="1299549" y="7457"/>
                  </a:cubicBezTo>
                  <a:cubicBezTo>
                    <a:pt x="1548342" y="37029"/>
                    <a:pt x="1770255" y="126184"/>
                    <a:pt x="1946698" y="267426"/>
                  </a:cubicBezTo>
                  <a:cubicBezTo>
                    <a:pt x="2120148" y="406307"/>
                    <a:pt x="2232147" y="583738"/>
                    <a:pt x="2270835" y="780967"/>
                  </a:cubicBezTo>
                  <a:cubicBezTo>
                    <a:pt x="2283246" y="844201"/>
                    <a:pt x="2283191" y="993900"/>
                    <a:pt x="2270753" y="1053868"/>
                  </a:cubicBezTo>
                  <a:cubicBezTo>
                    <a:pt x="2238215" y="1210761"/>
                    <a:pt x="2167018" y="1346731"/>
                    <a:pt x="2052739" y="1470209"/>
                  </a:cubicBezTo>
                  <a:cubicBezTo>
                    <a:pt x="2006006" y="1520703"/>
                    <a:pt x="1894913" y="1612054"/>
                    <a:pt x="1875747" y="1615761"/>
                  </a:cubicBezTo>
                  <a:cubicBezTo>
                    <a:pt x="1855950" y="1619578"/>
                    <a:pt x="1836867" y="1607222"/>
                    <a:pt x="1834973" y="1589375"/>
                  </a:cubicBezTo>
                  <a:cubicBezTo>
                    <a:pt x="1833600" y="1576579"/>
                    <a:pt x="1836702" y="1573202"/>
                    <a:pt x="1882474" y="1537479"/>
                  </a:cubicBezTo>
                  <a:cubicBezTo>
                    <a:pt x="1975775" y="1464661"/>
                    <a:pt x="2042662" y="1390279"/>
                    <a:pt x="2101504" y="1293985"/>
                  </a:cubicBezTo>
                  <a:cubicBezTo>
                    <a:pt x="2225118" y="1091622"/>
                    <a:pt x="2244366" y="864026"/>
                    <a:pt x="2156144" y="647220"/>
                  </a:cubicBezTo>
                  <a:cubicBezTo>
                    <a:pt x="2043678" y="370831"/>
                    <a:pt x="1755428" y="154246"/>
                    <a:pt x="1405919" y="83542"/>
                  </a:cubicBezTo>
                  <a:cubicBezTo>
                    <a:pt x="1327198" y="67617"/>
                    <a:pt x="1265281" y="60642"/>
                    <a:pt x="1178844" y="57924"/>
                  </a:cubicBezTo>
                  <a:cubicBezTo>
                    <a:pt x="704102" y="43015"/>
                    <a:pt x="272083" y="284642"/>
                    <a:pt x="124251" y="647742"/>
                  </a:cubicBezTo>
                  <a:cubicBezTo>
                    <a:pt x="86030" y="741647"/>
                    <a:pt x="70901" y="818336"/>
                    <a:pt x="70901" y="918337"/>
                  </a:cubicBezTo>
                  <a:cubicBezTo>
                    <a:pt x="70901" y="1054362"/>
                    <a:pt x="104976" y="1172622"/>
                    <a:pt x="179112" y="1293985"/>
                  </a:cubicBezTo>
                  <a:cubicBezTo>
                    <a:pt x="237871" y="1390169"/>
                    <a:pt x="304840" y="1464661"/>
                    <a:pt x="397867" y="1537287"/>
                  </a:cubicBezTo>
                  <a:cubicBezTo>
                    <a:pt x="440563" y="1570593"/>
                    <a:pt x="446577" y="1576909"/>
                    <a:pt x="446577" y="1588304"/>
                  </a:cubicBezTo>
                  <a:cubicBezTo>
                    <a:pt x="446577" y="1597749"/>
                    <a:pt x="443117" y="1603515"/>
                    <a:pt x="433891" y="1609364"/>
                  </a:cubicBezTo>
                  <a:cubicBezTo>
                    <a:pt x="418268" y="1619248"/>
                    <a:pt x="409756" y="1619386"/>
                    <a:pt x="391194" y="1610132"/>
                  </a:cubicBezTo>
                  <a:close/>
                  <a:moveTo>
                    <a:pt x="628758" y="1439593"/>
                  </a:moveTo>
                  <a:cubicBezTo>
                    <a:pt x="526725" y="1373393"/>
                    <a:pt x="456297" y="1303623"/>
                    <a:pt x="399652" y="1212656"/>
                  </a:cubicBezTo>
                  <a:cubicBezTo>
                    <a:pt x="339986" y="1116828"/>
                    <a:pt x="314258" y="1026273"/>
                    <a:pt x="314917" y="914466"/>
                  </a:cubicBezTo>
                  <a:cubicBezTo>
                    <a:pt x="315384" y="835140"/>
                    <a:pt x="326449" y="778962"/>
                    <a:pt x="355335" y="709467"/>
                  </a:cubicBezTo>
                  <a:cubicBezTo>
                    <a:pt x="426642" y="537939"/>
                    <a:pt x="570932" y="404330"/>
                    <a:pt x="771757" y="323824"/>
                  </a:cubicBezTo>
                  <a:cubicBezTo>
                    <a:pt x="844795" y="294554"/>
                    <a:pt x="901522" y="278354"/>
                    <a:pt x="978129" y="264900"/>
                  </a:cubicBezTo>
                  <a:cubicBezTo>
                    <a:pt x="1020963" y="257377"/>
                    <a:pt x="1041254" y="256306"/>
                    <a:pt x="1140294" y="256306"/>
                  </a:cubicBezTo>
                  <a:cubicBezTo>
                    <a:pt x="1240048" y="256306"/>
                    <a:pt x="1259515" y="257349"/>
                    <a:pt x="1304079" y="265120"/>
                  </a:cubicBezTo>
                  <a:cubicBezTo>
                    <a:pt x="1442657" y="289255"/>
                    <a:pt x="1563938" y="336482"/>
                    <a:pt x="1671517" y="408147"/>
                  </a:cubicBezTo>
                  <a:cubicBezTo>
                    <a:pt x="1722725" y="442276"/>
                    <a:pt x="1729453" y="454715"/>
                    <a:pt x="1706553" y="473111"/>
                  </a:cubicBezTo>
                  <a:cubicBezTo>
                    <a:pt x="1687937" y="488103"/>
                    <a:pt x="1675251" y="485357"/>
                    <a:pt x="1633378" y="457186"/>
                  </a:cubicBezTo>
                  <a:cubicBezTo>
                    <a:pt x="1539995" y="394390"/>
                    <a:pt x="1437990" y="351749"/>
                    <a:pt x="1329615" y="330167"/>
                  </a:cubicBezTo>
                  <a:cubicBezTo>
                    <a:pt x="1267341" y="317756"/>
                    <a:pt x="1253529" y="315971"/>
                    <a:pt x="1192106" y="312319"/>
                  </a:cubicBezTo>
                  <a:cubicBezTo>
                    <a:pt x="824311" y="290436"/>
                    <a:pt x="487873" y="491288"/>
                    <a:pt x="404100" y="782779"/>
                  </a:cubicBezTo>
                  <a:cubicBezTo>
                    <a:pt x="357477" y="944888"/>
                    <a:pt x="398498" y="1117707"/>
                    <a:pt x="517417" y="1260212"/>
                  </a:cubicBezTo>
                  <a:cubicBezTo>
                    <a:pt x="549817" y="1299065"/>
                    <a:pt x="614974" y="1355298"/>
                    <a:pt x="671784" y="1393519"/>
                  </a:cubicBezTo>
                  <a:cubicBezTo>
                    <a:pt x="707177" y="1417298"/>
                    <a:pt x="711543" y="1421691"/>
                    <a:pt x="711543" y="1433332"/>
                  </a:cubicBezTo>
                  <a:cubicBezTo>
                    <a:pt x="711543" y="1448242"/>
                    <a:pt x="693750" y="1462465"/>
                    <a:pt x="675079" y="1462465"/>
                  </a:cubicBezTo>
                  <a:cubicBezTo>
                    <a:pt x="668736" y="1462465"/>
                    <a:pt x="648884" y="1452663"/>
                    <a:pt x="628758" y="1439593"/>
                  </a:cubicBezTo>
                  <a:close/>
                  <a:moveTo>
                    <a:pt x="1581731" y="1454448"/>
                  </a:moveTo>
                  <a:cubicBezTo>
                    <a:pt x="1572505" y="1448599"/>
                    <a:pt x="1569045" y="1442861"/>
                    <a:pt x="1569045" y="1433332"/>
                  </a:cubicBezTo>
                  <a:cubicBezTo>
                    <a:pt x="1569045" y="1421691"/>
                    <a:pt x="1573411" y="1417324"/>
                    <a:pt x="1608831" y="1393546"/>
                  </a:cubicBezTo>
                  <a:cubicBezTo>
                    <a:pt x="1731238" y="1311338"/>
                    <a:pt x="1810892" y="1218559"/>
                    <a:pt x="1857707" y="1103566"/>
                  </a:cubicBezTo>
                  <a:cubicBezTo>
                    <a:pt x="1885165" y="1036158"/>
                    <a:pt x="1893622" y="992033"/>
                    <a:pt x="1893622" y="916387"/>
                  </a:cubicBezTo>
                  <a:cubicBezTo>
                    <a:pt x="1893622" y="871961"/>
                    <a:pt x="1890986" y="840687"/>
                    <a:pt x="1885000" y="813751"/>
                  </a:cubicBezTo>
                  <a:cubicBezTo>
                    <a:pt x="1867867" y="736815"/>
                    <a:pt x="1825994" y="652245"/>
                    <a:pt x="1770749" y="582942"/>
                  </a:cubicBezTo>
                  <a:cubicBezTo>
                    <a:pt x="1757844" y="566742"/>
                    <a:pt x="1747300" y="550157"/>
                    <a:pt x="1747300" y="546039"/>
                  </a:cubicBezTo>
                  <a:cubicBezTo>
                    <a:pt x="1747300" y="525418"/>
                    <a:pt x="1780744" y="511387"/>
                    <a:pt x="1802517" y="522837"/>
                  </a:cubicBezTo>
                  <a:cubicBezTo>
                    <a:pt x="1817207" y="530580"/>
                    <a:pt x="1863583" y="590658"/>
                    <a:pt x="1889558" y="635606"/>
                  </a:cubicBezTo>
                  <a:cubicBezTo>
                    <a:pt x="2051531" y="915976"/>
                    <a:pt x="1953782" y="1247060"/>
                    <a:pt x="1652132" y="1439758"/>
                  </a:cubicBezTo>
                  <a:cubicBezTo>
                    <a:pt x="1613582" y="1464387"/>
                    <a:pt x="1601472" y="1466913"/>
                    <a:pt x="1581731" y="1454448"/>
                  </a:cubicBezTo>
                  <a:close/>
                  <a:moveTo>
                    <a:pt x="802208" y="1144725"/>
                  </a:moveTo>
                  <a:cubicBezTo>
                    <a:pt x="790703" y="1139343"/>
                    <a:pt x="752290" y="1091787"/>
                    <a:pt x="735761" y="1062490"/>
                  </a:cubicBezTo>
                  <a:cubicBezTo>
                    <a:pt x="708852" y="1014768"/>
                    <a:pt x="700065" y="978634"/>
                    <a:pt x="700230" y="916387"/>
                  </a:cubicBezTo>
                  <a:cubicBezTo>
                    <a:pt x="700395" y="851176"/>
                    <a:pt x="709017" y="818886"/>
                    <a:pt x="740291" y="766277"/>
                  </a:cubicBezTo>
                  <a:cubicBezTo>
                    <a:pt x="763493" y="727287"/>
                    <a:pt x="780626" y="706886"/>
                    <a:pt x="816184" y="676023"/>
                  </a:cubicBezTo>
                  <a:cubicBezTo>
                    <a:pt x="1008744" y="508834"/>
                    <a:pt x="1345540" y="528960"/>
                    <a:pt x="1506744" y="717320"/>
                  </a:cubicBezTo>
                  <a:cubicBezTo>
                    <a:pt x="1528847" y="743130"/>
                    <a:pt x="1558227" y="795546"/>
                    <a:pt x="1569979" y="830088"/>
                  </a:cubicBezTo>
                  <a:cubicBezTo>
                    <a:pt x="1584998" y="874322"/>
                    <a:pt x="1584861" y="959496"/>
                    <a:pt x="1569677" y="1005103"/>
                  </a:cubicBezTo>
                  <a:cubicBezTo>
                    <a:pt x="1556113" y="1045850"/>
                    <a:pt x="1537194" y="1079596"/>
                    <a:pt x="1508583" y="1114192"/>
                  </a:cubicBezTo>
                  <a:cubicBezTo>
                    <a:pt x="1477858" y="1151370"/>
                    <a:pt x="1459379" y="1157768"/>
                    <a:pt x="1436342" y="1139261"/>
                  </a:cubicBezTo>
                  <a:cubicBezTo>
                    <a:pt x="1420060" y="1126164"/>
                    <a:pt x="1421460" y="1116307"/>
                    <a:pt x="1443536" y="1089014"/>
                  </a:cubicBezTo>
                  <a:cubicBezTo>
                    <a:pt x="1486123" y="1036322"/>
                    <a:pt x="1505371" y="990606"/>
                    <a:pt x="1509764" y="931736"/>
                  </a:cubicBezTo>
                  <a:cubicBezTo>
                    <a:pt x="1519539" y="801038"/>
                    <a:pt x="1414871" y="677341"/>
                    <a:pt x="1259268" y="635661"/>
                  </a:cubicBezTo>
                  <a:cubicBezTo>
                    <a:pt x="1179201" y="614216"/>
                    <a:pt x="1101386" y="614216"/>
                    <a:pt x="1021320" y="635661"/>
                  </a:cubicBezTo>
                  <a:cubicBezTo>
                    <a:pt x="865525" y="677396"/>
                    <a:pt x="761049" y="800901"/>
                    <a:pt x="770824" y="931736"/>
                  </a:cubicBezTo>
                  <a:cubicBezTo>
                    <a:pt x="775217" y="990606"/>
                    <a:pt x="794492" y="1036322"/>
                    <a:pt x="837052" y="1089014"/>
                  </a:cubicBezTo>
                  <a:cubicBezTo>
                    <a:pt x="859128" y="1116307"/>
                    <a:pt x="860528" y="1126164"/>
                    <a:pt x="844246" y="1139261"/>
                  </a:cubicBezTo>
                  <a:cubicBezTo>
                    <a:pt x="831917" y="1149146"/>
                    <a:pt x="816047" y="1151233"/>
                    <a:pt x="802208" y="1144725"/>
                  </a:cubicBezTo>
                  <a:close/>
                </a:path>
              </a:pathLst>
            </a:custGeom>
            <a:solidFill>
              <a:schemeClr val="bg1"/>
            </a:solidFill>
            <a:ln w="43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latin typeface="IBM Plex Sans Light" panose="020B0403050203000203" pitchFamily="34" charset="0"/>
              </a:endParaRPr>
            </a:p>
          </p:txBody>
        </p:sp>
      </p:grp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3F4909F-1256-4AD2-8BF8-418FBCF11A7C}"/>
              </a:ext>
            </a:extLst>
          </p:cNvPr>
          <p:cNvSpPr/>
          <p:nvPr/>
        </p:nvSpPr>
        <p:spPr>
          <a:xfrm flipH="1">
            <a:off x="898376" y="2501194"/>
            <a:ext cx="8593603" cy="844289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0" tIns="37148" rIns="7312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975" dirty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202964E-1AF2-4F95-92E7-740CFF508E3B}"/>
              </a:ext>
            </a:extLst>
          </p:cNvPr>
          <p:cNvSpPr/>
          <p:nvPr/>
        </p:nvSpPr>
        <p:spPr>
          <a:xfrm flipH="1">
            <a:off x="416932" y="2501194"/>
            <a:ext cx="3575304" cy="844289"/>
          </a:xfrm>
          <a:prstGeom prst="roundRect">
            <a:avLst>
              <a:gd name="adj" fmla="val 50000"/>
            </a:avLst>
          </a:prstGeom>
          <a:solidFill>
            <a:srgbClr val="7DD8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051EF2-CB8F-4EB3-9916-786D566B8AA7}"/>
              </a:ext>
            </a:extLst>
          </p:cNvPr>
          <p:cNvSpPr txBox="1"/>
          <p:nvPr/>
        </p:nvSpPr>
        <p:spPr>
          <a:xfrm>
            <a:off x="1562243" y="2717373"/>
            <a:ext cx="1284682" cy="513873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Light" panose="020B0403050203000203" pitchFamily="34" charset="0"/>
              </a:rPr>
              <a:t>Print Medi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AC4C3C-6397-4980-9CC5-EA32F2B20B0B}"/>
              </a:ext>
            </a:extLst>
          </p:cNvPr>
          <p:cNvSpPr txBox="1"/>
          <p:nvPr/>
        </p:nvSpPr>
        <p:spPr>
          <a:xfrm>
            <a:off x="6229150" y="2531058"/>
            <a:ext cx="3157355" cy="685163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algn="r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</a:rPr>
              <a:t>It includes Newspapers, Magazines, and books, etc.</a:t>
            </a:r>
            <a:endParaRPr lang="en-IN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3F26A41-003C-4546-AF07-068B4E95E5B4}"/>
              </a:ext>
            </a:extLst>
          </p:cNvPr>
          <p:cNvGrpSpPr/>
          <p:nvPr/>
        </p:nvGrpSpPr>
        <p:grpSpPr>
          <a:xfrm>
            <a:off x="3211188" y="2578138"/>
            <a:ext cx="685163" cy="685163"/>
            <a:chOff x="3267848" y="2278308"/>
            <a:chExt cx="822960" cy="82296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DA849C2-C2BE-402F-A4DD-54AA3379521E}"/>
                </a:ext>
              </a:extLst>
            </p:cNvPr>
            <p:cNvSpPr/>
            <p:nvPr/>
          </p:nvSpPr>
          <p:spPr>
            <a:xfrm flipH="1">
              <a:off x="3267848" y="2278308"/>
              <a:ext cx="822960" cy="82296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975" b="1" dirty="0">
                <a:solidFill>
                  <a:prstClr val="white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586AB7A-4D1E-442C-BD1D-49F8DBF63867}"/>
                </a:ext>
              </a:extLst>
            </p:cNvPr>
            <p:cNvSpPr/>
            <p:nvPr/>
          </p:nvSpPr>
          <p:spPr>
            <a:xfrm>
              <a:off x="3450728" y="2461188"/>
              <a:ext cx="457200" cy="457200"/>
            </a:xfrm>
            <a:custGeom>
              <a:avLst/>
              <a:gdLst>
                <a:gd name="connsiteX0" fmla="*/ 66338 w 1670028"/>
                <a:gd name="connsiteY0" fmla="*/ 1665042 h 1672942"/>
                <a:gd name="connsiteX1" fmla="*/ 6041 w 1670028"/>
                <a:gd name="connsiteY1" fmla="*/ 1614547 h 1672942"/>
                <a:gd name="connsiteX2" fmla="*/ 6288 w 1670028"/>
                <a:gd name="connsiteY2" fmla="*/ 57781 h 1672942"/>
                <a:gd name="connsiteX3" fmla="*/ 77925 w 1670028"/>
                <a:gd name="connsiteY3" fmla="*/ 3882 h 1672942"/>
                <a:gd name="connsiteX4" fmla="*/ 613459 w 1670028"/>
                <a:gd name="connsiteY4" fmla="*/ 587 h 1672942"/>
                <a:gd name="connsiteX5" fmla="*/ 1144435 w 1670028"/>
                <a:gd name="connsiteY5" fmla="*/ 8055 h 1672942"/>
                <a:gd name="connsiteX6" fmla="*/ 1656465 w 1670028"/>
                <a:gd name="connsiteY6" fmla="*/ 400782 h 1672942"/>
                <a:gd name="connsiteX7" fmla="*/ 1668629 w 1670028"/>
                <a:gd name="connsiteY7" fmla="*/ 416461 h 1672942"/>
                <a:gd name="connsiteX8" fmla="*/ 1669864 w 1670028"/>
                <a:gd name="connsiteY8" fmla="*/ 1009161 h 1672942"/>
                <a:gd name="connsiteX9" fmla="*/ 1663659 w 1670028"/>
                <a:gd name="connsiteY9" fmla="*/ 1617046 h 1672942"/>
                <a:gd name="connsiteX10" fmla="*/ 1605119 w 1670028"/>
                <a:gd name="connsiteY10" fmla="*/ 1665125 h 1672942"/>
                <a:gd name="connsiteX11" fmla="*/ 1582412 w 1670028"/>
                <a:gd name="connsiteY11" fmla="*/ 1673252 h 1672942"/>
                <a:gd name="connsiteX12" fmla="*/ 835838 w 1670028"/>
                <a:gd name="connsiteY12" fmla="*/ 1673252 h 1672942"/>
                <a:gd name="connsiteX13" fmla="*/ 89265 w 1670028"/>
                <a:gd name="connsiteY13" fmla="*/ 1673252 h 1672942"/>
                <a:gd name="connsiteX14" fmla="*/ 1587162 w 1670028"/>
                <a:gd name="connsiteY14" fmla="*/ 1608974 h 1672942"/>
                <a:gd name="connsiteX15" fmla="*/ 1598282 w 1670028"/>
                <a:gd name="connsiteY15" fmla="*/ 1600434 h 1672942"/>
                <a:gd name="connsiteX16" fmla="*/ 1598282 w 1670028"/>
                <a:gd name="connsiteY16" fmla="*/ 1015504 h 1672942"/>
                <a:gd name="connsiteX17" fmla="*/ 1598282 w 1670028"/>
                <a:gd name="connsiteY17" fmla="*/ 430574 h 1672942"/>
                <a:gd name="connsiteX18" fmla="*/ 1380461 w 1670028"/>
                <a:gd name="connsiteY18" fmla="*/ 263137 h 1672942"/>
                <a:gd name="connsiteX19" fmla="*/ 1162639 w 1670028"/>
                <a:gd name="connsiteY19" fmla="*/ 95728 h 1672942"/>
                <a:gd name="connsiteX20" fmla="*/ 1162612 w 1670028"/>
                <a:gd name="connsiteY20" fmla="*/ 234471 h 1672942"/>
                <a:gd name="connsiteX21" fmla="*/ 1162612 w 1670028"/>
                <a:gd name="connsiteY21" fmla="*/ 373215 h 1672942"/>
                <a:gd name="connsiteX22" fmla="*/ 1173732 w 1670028"/>
                <a:gd name="connsiteY22" fmla="*/ 381754 h 1672942"/>
                <a:gd name="connsiteX23" fmla="*/ 1184880 w 1670028"/>
                <a:gd name="connsiteY23" fmla="*/ 390321 h 1672942"/>
                <a:gd name="connsiteX24" fmla="*/ 1318983 w 1670028"/>
                <a:gd name="connsiteY24" fmla="*/ 390321 h 1672942"/>
                <a:gd name="connsiteX25" fmla="*/ 1453059 w 1670028"/>
                <a:gd name="connsiteY25" fmla="*/ 390321 h 1672942"/>
                <a:gd name="connsiteX26" fmla="*/ 1453059 w 1670028"/>
                <a:gd name="connsiteY26" fmla="*/ 418218 h 1672942"/>
                <a:gd name="connsiteX27" fmla="*/ 1453059 w 1670028"/>
                <a:gd name="connsiteY27" fmla="*/ 446115 h 1672942"/>
                <a:gd name="connsiteX28" fmla="*/ 1315771 w 1670028"/>
                <a:gd name="connsiteY28" fmla="*/ 446087 h 1672942"/>
                <a:gd name="connsiteX29" fmla="*/ 1155555 w 1670028"/>
                <a:gd name="connsiteY29" fmla="*/ 437823 h 1672942"/>
                <a:gd name="connsiteX30" fmla="*/ 1095258 w 1670028"/>
                <a:gd name="connsiteY30" fmla="*/ 387328 h 1672942"/>
                <a:gd name="connsiteX31" fmla="*/ 1089986 w 1670028"/>
                <a:gd name="connsiteY31" fmla="*/ 214729 h 1672942"/>
                <a:gd name="connsiteX32" fmla="*/ 1089986 w 1670028"/>
                <a:gd name="connsiteY32" fmla="*/ 55640 h 1672942"/>
                <a:gd name="connsiteX33" fmla="*/ 592838 w 1670028"/>
                <a:gd name="connsiteY33" fmla="*/ 55640 h 1672942"/>
                <a:gd name="connsiteX34" fmla="*/ 95663 w 1670028"/>
                <a:gd name="connsiteY34" fmla="*/ 55640 h 1672942"/>
                <a:gd name="connsiteX35" fmla="*/ 84542 w 1670028"/>
                <a:gd name="connsiteY35" fmla="*/ 64179 h 1672942"/>
                <a:gd name="connsiteX36" fmla="*/ 73394 w 1670028"/>
                <a:gd name="connsiteY36" fmla="*/ 72746 h 1672942"/>
                <a:gd name="connsiteX37" fmla="*/ 73394 w 1670028"/>
                <a:gd name="connsiteY37" fmla="*/ 836590 h 1672942"/>
                <a:gd name="connsiteX38" fmla="*/ 73394 w 1670028"/>
                <a:gd name="connsiteY38" fmla="*/ 1600434 h 1672942"/>
                <a:gd name="connsiteX39" fmla="*/ 84542 w 1670028"/>
                <a:gd name="connsiteY39" fmla="*/ 1609001 h 1672942"/>
                <a:gd name="connsiteX40" fmla="*/ 95663 w 1670028"/>
                <a:gd name="connsiteY40" fmla="*/ 1617540 h 1672942"/>
                <a:gd name="connsiteX41" fmla="*/ 835838 w 1670028"/>
                <a:gd name="connsiteY41" fmla="*/ 1617540 h 1672942"/>
                <a:gd name="connsiteX42" fmla="*/ 1576014 w 1670028"/>
                <a:gd name="connsiteY42" fmla="*/ 1617540 h 1672942"/>
                <a:gd name="connsiteX43" fmla="*/ 182319 w 1670028"/>
                <a:gd name="connsiteY43" fmla="*/ 1422317 h 1672942"/>
                <a:gd name="connsiteX44" fmla="*/ 182319 w 1670028"/>
                <a:gd name="connsiteY44" fmla="*/ 1394419 h 1672942"/>
                <a:gd name="connsiteX45" fmla="*/ 273094 w 1670028"/>
                <a:gd name="connsiteY45" fmla="*/ 1394419 h 1672942"/>
                <a:gd name="connsiteX46" fmla="*/ 363841 w 1670028"/>
                <a:gd name="connsiteY46" fmla="*/ 1394419 h 1672942"/>
                <a:gd name="connsiteX47" fmla="*/ 363841 w 1670028"/>
                <a:gd name="connsiteY47" fmla="*/ 1422317 h 1672942"/>
                <a:gd name="connsiteX48" fmla="*/ 363841 w 1670028"/>
                <a:gd name="connsiteY48" fmla="*/ 1450186 h 1672942"/>
                <a:gd name="connsiteX49" fmla="*/ 273094 w 1670028"/>
                <a:gd name="connsiteY49" fmla="*/ 1450186 h 1672942"/>
                <a:gd name="connsiteX50" fmla="*/ 182319 w 1670028"/>
                <a:gd name="connsiteY50" fmla="*/ 1450186 h 1672942"/>
                <a:gd name="connsiteX51" fmla="*/ 436467 w 1670028"/>
                <a:gd name="connsiteY51" fmla="*/ 1422317 h 1672942"/>
                <a:gd name="connsiteX52" fmla="*/ 436467 w 1670028"/>
                <a:gd name="connsiteY52" fmla="*/ 1394419 h 1672942"/>
                <a:gd name="connsiteX53" fmla="*/ 654316 w 1670028"/>
                <a:gd name="connsiteY53" fmla="*/ 1394419 h 1672942"/>
                <a:gd name="connsiteX54" fmla="*/ 872137 w 1670028"/>
                <a:gd name="connsiteY54" fmla="*/ 1394419 h 1672942"/>
                <a:gd name="connsiteX55" fmla="*/ 872137 w 1670028"/>
                <a:gd name="connsiteY55" fmla="*/ 1422317 h 1672942"/>
                <a:gd name="connsiteX56" fmla="*/ 872137 w 1670028"/>
                <a:gd name="connsiteY56" fmla="*/ 1450186 h 1672942"/>
                <a:gd name="connsiteX57" fmla="*/ 654316 w 1670028"/>
                <a:gd name="connsiteY57" fmla="*/ 1450186 h 1672942"/>
                <a:gd name="connsiteX58" fmla="*/ 436467 w 1670028"/>
                <a:gd name="connsiteY58" fmla="*/ 1450186 h 1672942"/>
                <a:gd name="connsiteX59" fmla="*/ 182319 w 1670028"/>
                <a:gd name="connsiteY59" fmla="*/ 1254962 h 1672942"/>
                <a:gd name="connsiteX60" fmla="*/ 182319 w 1670028"/>
                <a:gd name="connsiteY60" fmla="*/ 1227065 h 1672942"/>
                <a:gd name="connsiteX61" fmla="*/ 327542 w 1670028"/>
                <a:gd name="connsiteY61" fmla="*/ 1227065 h 1672942"/>
                <a:gd name="connsiteX62" fmla="*/ 472766 w 1670028"/>
                <a:gd name="connsiteY62" fmla="*/ 1227065 h 1672942"/>
                <a:gd name="connsiteX63" fmla="*/ 472766 w 1670028"/>
                <a:gd name="connsiteY63" fmla="*/ 1254962 h 1672942"/>
                <a:gd name="connsiteX64" fmla="*/ 472766 w 1670028"/>
                <a:gd name="connsiteY64" fmla="*/ 1282859 h 1672942"/>
                <a:gd name="connsiteX65" fmla="*/ 327542 w 1670028"/>
                <a:gd name="connsiteY65" fmla="*/ 1282859 h 1672942"/>
                <a:gd name="connsiteX66" fmla="*/ 182319 w 1670028"/>
                <a:gd name="connsiteY66" fmla="*/ 1282859 h 1672942"/>
                <a:gd name="connsiteX67" fmla="*/ 545391 w 1670028"/>
                <a:gd name="connsiteY67" fmla="*/ 1254962 h 1672942"/>
                <a:gd name="connsiteX68" fmla="*/ 545391 w 1670028"/>
                <a:gd name="connsiteY68" fmla="*/ 1227065 h 1672942"/>
                <a:gd name="connsiteX69" fmla="*/ 599840 w 1670028"/>
                <a:gd name="connsiteY69" fmla="*/ 1227065 h 1672942"/>
                <a:gd name="connsiteX70" fmla="*/ 654316 w 1670028"/>
                <a:gd name="connsiteY70" fmla="*/ 1227065 h 1672942"/>
                <a:gd name="connsiteX71" fmla="*/ 654316 w 1670028"/>
                <a:gd name="connsiteY71" fmla="*/ 1254962 h 1672942"/>
                <a:gd name="connsiteX72" fmla="*/ 654316 w 1670028"/>
                <a:gd name="connsiteY72" fmla="*/ 1282859 h 1672942"/>
                <a:gd name="connsiteX73" fmla="*/ 599840 w 1670028"/>
                <a:gd name="connsiteY73" fmla="*/ 1282859 h 1672942"/>
                <a:gd name="connsiteX74" fmla="*/ 545391 w 1670028"/>
                <a:gd name="connsiteY74" fmla="*/ 1282859 h 1672942"/>
                <a:gd name="connsiteX75" fmla="*/ 726914 w 1670028"/>
                <a:gd name="connsiteY75" fmla="*/ 1254962 h 1672942"/>
                <a:gd name="connsiteX76" fmla="*/ 726914 w 1670028"/>
                <a:gd name="connsiteY76" fmla="*/ 1227065 h 1672942"/>
                <a:gd name="connsiteX77" fmla="*/ 962912 w 1670028"/>
                <a:gd name="connsiteY77" fmla="*/ 1227065 h 1672942"/>
                <a:gd name="connsiteX78" fmla="*/ 1198911 w 1670028"/>
                <a:gd name="connsiteY78" fmla="*/ 1227065 h 1672942"/>
                <a:gd name="connsiteX79" fmla="*/ 1198911 w 1670028"/>
                <a:gd name="connsiteY79" fmla="*/ 1254962 h 1672942"/>
                <a:gd name="connsiteX80" fmla="*/ 1198911 w 1670028"/>
                <a:gd name="connsiteY80" fmla="*/ 1282859 h 1672942"/>
                <a:gd name="connsiteX81" fmla="*/ 962912 w 1670028"/>
                <a:gd name="connsiteY81" fmla="*/ 1282859 h 1672942"/>
                <a:gd name="connsiteX82" fmla="*/ 726914 w 1670028"/>
                <a:gd name="connsiteY82" fmla="*/ 1282859 h 1672942"/>
                <a:gd name="connsiteX83" fmla="*/ 1271536 w 1670028"/>
                <a:gd name="connsiteY83" fmla="*/ 1254962 h 1672942"/>
                <a:gd name="connsiteX84" fmla="*/ 1271536 w 1670028"/>
                <a:gd name="connsiteY84" fmla="*/ 1227065 h 1672942"/>
                <a:gd name="connsiteX85" fmla="*/ 1380461 w 1670028"/>
                <a:gd name="connsiteY85" fmla="*/ 1227065 h 1672942"/>
                <a:gd name="connsiteX86" fmla="*/ 1489358 w 1670028"/>
                <a:gd name="connsiteY86" fmla="*/ 1227065 h 1672942"/>
                <a:gd name="connsiteX87" fmla="*/ 1489358 w 1670028"/>
                <a:gd name="connsiteY87" fmla="*/ 1254962 h 1672942"/>
                <a:gd name="connsiteX88" fmla="*/ 1489358 w 1670028"/>
                <a:gd name="connsiteY88" fmla="*/ 1282859 h 1672942"/>
                <a:gd name="connsiteX89" fmla="*/ 1380461 w 1670028"/>
                <a:gd name="connsiteY89" fmla="*/ 1282859 h 1672942"/>
                <a:gd name="connsiteX90" fmla="*/ 1271536 w 1670028"/>
                <a:gd name="connsiteY90" fmla="*/ 1282859 h 1672942"/>
                <a:gd name="connsiteX91" fmla="*/ 182319 w 1670028"/>
                <a:gd name="connsiteY91" fmla="*/ 1087608 h 1672942"/>
                <a:gd name="connsiteX92" fmla="*/ 182319 w 1670028"/>
                <a:gd name="connsiteY92" fmla="*/ 1059711 h 1672942"/>
                <a:gd name="connsiteX93" fmla="*/ 254944 w 1670028"/>
                <a:gd name="connsiteY93" fmla="*/ 1059711 h 1672942"/>
                <a:gd name="connsiteX94" fmla="*/ 327542 w 1670028"/>
                <a:gd name="connsiteY94" fmla="*/ 1059711 h 1672942"/>
                <a:gd name="connsiteX95" fmla="*/ 327542 w 1670028"/>
                <a:gd name="connsiteY95" fmla="*/ 1087608 h 1672942"/>
                <a:gd name="connsiteX96" fmla="*/ 327542 w 1670028"/>
                <a:gd name="connsiteY96" fmla="*/ 1115505 h 1672942"/>
                <a:gd name="connsiteX97" fmla="*/ 254944 w 1670028"/>
                <a:gd name="connsiteY97" fmla="*/ 1115505 h 1672942"/>
                <a:gd name="connsiteX98" fmla="*/ 182319 w 1670028"/>
                <a:gd name="connsiteY98" fmla="*/ 1115505 h 1672942"/>
                <a:gd name="connsiteX99" fmla="*/ 400168 w 1670028"/>
                <a:gd name="connsiteY99" fmla="*/ 1087608 h 1672942"/>
                <a:gd name="connsiteX100" fmla="*/ 400168 w 1670028"/>
                <a:gd name="connsiteY100" fmla="*/ 1059711 h 1672942"/>
                <a:gd name="connsiteX101" fmla="*/ 708765 w 1670028"/>
                <a:gd name="connsiteY101" fmla="*/ 1059711 h 1672942"/>
                <a:gd name="connsiteX102" fmla="*/ 1017388 w 1670028"/>
                <a:gd name="connsiteY102" fmla="*/ 1059711 h 1672942"/>
                <a:gd name="connsiteX103" fmla="*/ 1017388 w 1670028"/>
                <a:gd name="connsiteY103" fmla="*/ 1087608 h 1672942"/>
                <a:gd name="connsiteX104" fmla="*/ 1017388 w 1670028"/>
                <a:gd name="connsiteY104" fmla="*/ 1115505 h 1672942"/>
                <a:gd name="connsiteX105" fmla="*/ 708765 w 1670028"/>
                <a:gd name="connsiteY105" fmla="*/ 1115505 h 1672942"/>
                <a:gd name="connsiteX106" fmla="*/ 400168 w 1670028"/>
                <a:gd name="connsiteY106" fmla="*/ 1115505 h 1672942"/>
                <a:gd name="connsiteX107" fmla="*/ 1089986 w 1670028"/>
                <a:gd name="connsiteY107" fmla="*/ 1087608 h 1672942"/>
                <a:gd name="connsiteX108" fmla="*/ 1089986 w 1670028"/>
                <a:gd name="connsiteY108" fmla="*/ 1059711 h 1672942"/>
                <a:gd name="connsiteX109" fmla="*/ 1289686 w 1670028"/>
                <a:gd name="connsiteY109" fmla="*/ 1059711 h 1672942"/>
                <a:gd name="connsiteX110" fmla="*/ 1489358 w 1670028"/>
                <a:gd name="connsiteY110" fmla="*/ 1059711 h 1672942"/>
                <a:gd name="connsiteX111" fmla="*/ 1489358 w 1670028"/>
                <a:gd name="connsiteY111" fmla="*/ 1087608 h 1672942"/>
                <a:gd name="connsiteX112" fmla="*/ 1489358 w 1670028"/>
                <a:gd name="connsiteY112" fmla="*/ 1115505 h 1672942"/>
                <a:gd name="connsiteX113" fmla="*/ 1289686 w 1670028"/>
                <a:gd name="connsiteY113" fmla="*/ 1115505 h 1672942"/>
                <a:gd name="connsiteX114" fmla="*/ 1089986 w 1670028"/>
                <a:gd name="connsiteY114" fmla="*/ 1115505 h 1672942"/>
                <a:gd name="connsiteX115" fmla="*/ 182319 w 1670028"/>
                <a:gd name="connsiteY115" fmla="*/ 920253 h 1672942"/>
                <a:gd name="connsiteX116" fmla="*/ 182319 w 1670028"/>
                <a:gd name="connsiteY116" fmla="*/ 892356 h 1672942"/>
                <a:gd name="connsiteX117" fmla="*/ 345692 w 1670028"/>
                <a:gd name="connsiteY117" fmla="*/ 892356 h 1672942"/>
                <a:gd name="connsiteX118" fmla="*/ 509092 w 1670028"/>
                <a:gd name="connsiteY118" fmla="*/ 892356 h 1672942"/>
                <a:gd name="connsiteX119" fmla="*/ 509092 w 1670028"/>
                <a:gd name="connsiteY119" fmla="*/ 920253 h 1672942"/>
                <a:gd name="connsiteX120" fmla="*/ 509092 w 1670028"/>
                <a:gd name="connsiteY120" fmla="*/ 948150 h 1672942"/>
                <a:gd name="connsiteX121" fmla="*/ 345692 w 1670028"/>
                <a:gd name="connsiteY121" fmla="*/ 948150 h 1672942"/>
                <a:gd name="connsiteX122" fmla="*/ 182319 w 1670028"/>
                <a:gd name="connsiteY122" fmla="*/ 948150 h 1672942"/>
                <a:gd name="connsiteX123" fmla="*/ 581690 w 1670028"/>
                <a:gd name="connsiteY123" fmla="*/ 920253 h 1672942"/>
                <a:gd name="connsiteX124" fmla="*/ 581690 w 1670028"/>
                <a:gd name="connsiteY124" fmla="*/ 892356 h 1672942"/>
                <a:gd name="connsiteX125" fmla="*/ 926613 w 1670028"/>
                <a:gd name="connsiteY125" fmla="*/ 892356 h 1672942"/>
                <a:gd name="connsiteX126" fmla="*/ 1271536 w 1670028"/>
                <a:gd name="connsiteY126" fmla="*/ 892356 h 1672942"/>
                <a:gd name="connsiteX127" fmla="*/ 1271536 w 1670028"/>
                <a:gd name="connsiteY127" fmla="*/ 920253 h 1672942"/>
                <a:gd name="connsiteX128" fmla="*/ 1271536 w 1670028"/>
                <a:gd name="connsiteY128" fmla="*/ 948150 h 1672942"/>
                <a:gd name="connsiteX129" fmla="*/ 926613 w 1670028"/>
                <a:gd name="connsiteY129" fmla="*/ 948150 h 1672942"/>
                <a:gd name="connsiteX130" fmla="*/ 581690 w 1670028"/>
                <a:gd name="connsiteY130" fmla="*/ 948150 h 1672942"/>
                <a:gd name="connsiteX131" fmla="*/ 1344134 w 1670028"/>
                <a:gd name="connsiteY131" fmla="*/ 920253 h 1672942"/>
                <a:gd name="connsiteX132" fmla="*/ 1344134 w 1670028"/>
                <a:gd name="connsiteY132" fmla="*/ 892356 h 1672942"/>
                <a:gd name="connsiteX133" fmla="*/ 1416760 w 1670028"/>
                <a:gd name="connsiteY133" fmla="*/ 892356 h 1672942"/>
                <a:gd name="connsiteX134" fmla="*/ 1489358 w 1670028"/>
                <a:gd name="connsiteY134" fmla="*/ 892356 h 1672942"/>
                <a:gd name="connsiteX135" fmla="*/ 1489358 w 1670028"/>
                <a:gd name="connsiteY135" fmla="*/ 920253 h 1672942"/>
                <a:gd name="connsiteX136" fmla="*/ 1489358 w 1670028"/>
                <a:gd name="connsiteY136" fmla="*/ 948150 h 1672942"/>
                <a:gd name="connsiteX137" fmla="*/ 1416760 w 1670028"/>
                <a:gd name="connsiteY137" fmla="*/ 948150 h 1672942"/>
                <a:gd name="connsiteX138" fmla="*/ 1344134 w 1670028"/>
                <a:gd name="connsiteY138" fmla="*/ 948150 h 1672942"/>
                <a:gd name="connsiteX139" fmla="*/ 182319 w 1670028"/>
                <a:gd name="connsiteY139" fmla="*/ 752899 h 1672942"/>
                <a:gd name="connsiteX140" fmla="*/ 182319 w 1670028"/>
                <a:gd name="connsiteY140" fmla="*/ 725029 h 1672942"/>
                <a:gd name="connsiteX141" fmla="*/ 236767 w 1670028"/>
                <a:gd name="connsiteY141" fmla="*/ 725029 h 1672942"/>
                <a:gd name="connsiteX142" fmla="*/ 291243 w 1670028"/>
                <a:gd name="connsiteY142" fmla="*/ 725029 h 1672942"/>
                <a:gd name="connsiteX143" fmla="*/ 291243 w 1670028"/>
                <a:gd name="connsiteY143" fmla="*/ 752899 h 1672942"/>
                <a:gd name="connsiteX144" fmla="*/ 291243 w 1670028"/>
                <a:gd name="connsiteY144" fmla="*/ 780796 h 1672942"/>
                <a:gd name="connsiteX145" fmla="*/ 236767 w 1670028"/>
                <a:gd name="connsiteY145" fmla="*/ 780796 h 1672942"/>
                <a:gd name="connsiteX146" fmla="*/ 182319 w 1670028"/>
                <a:gd name="connsiteY146" fmla="*/ 780796 h 1672942"/>
                <a:gd name="connsiteX147" fmla="*/ 363841 w 1670028"/>
                <a:gd name="connsiteY147" fmla="*/ 752899 h 1672942"/>
                <a:gd name="connsiteX148" fmla="*/ 363841 w 1670028"/>
                <a:gd name="connsiteY148" fmla="*/ 725029 h 1672942"/>
                <a:gd name="connsiteX149" fmla="*/ 617989 w 1670028"/>
                <a:gd name="connsiteY149" fmla="*/ 725029 h 1672942"/>
                <a:gd name="connsiteX150" fmla="*/ 872137 w 1670028"/>
                <a:gd name="connsiteY150" fmla="*/ 725029 h 1672942"/>
                <a:gd name="connsiteX151" fmla="*/ 872137 w 1670028"/>
                <a:gd name="connsiteY151" fmla="*/ 752899 h 1672942"/>
                <a:gd name="connsiteX152" fmla="*/ 872137 w 1670028"/>
                <a:gd name="connsiteY152" fmla="*/ 780796 h 1672942"/>
                <a:gd name="connsiteX153" fmla="*/ 617989 w 1670028"/>
                <a:gd name="connsiteY153" fmla="*/ 780796 h 1672942"/>
                <a:gd name="connsiteX154" fmla="*/ 363841 w 1670028"/>
                <a:gd name="connsiteY154" fmla="*/ 780796 h 1672942"/>
                <a:gd name="connsiteX155" fmla="*/ 944763 w 1670028"/>
                <a:gd name="connsiteY155" fmla="*/ 752899 h 1672942"/>
                <a:gd name="connsiteX156" fmla="*/ 944763 w 1670028"/>
                <a:gd name="connsiteY156" fmla="*/ 725029 h 1672942"/>
                <a:gd name="connsiteX157" fmla="*/ 1217060 w 1670028"/>
                <a:gd name="connsiteY157" fmla="*/ 725029 h 1672942"/>
                <a:gd name="connsiteX158" fmla="*/ 1489358 w 1670028"/>
                <a:gd name="connsiteY158" fmla="*/ 725029 h 1672942"/>
                <a:gd name="connsiteX159" fmla="*/ 1489358 w 1670028"/>
                <a:gd name="connsiteY159" fmla="*/ 752899 h 1672942"/>
                <a:gd name="connsiteX160" fmla="*/ 1489358 w 1670028"/>
                <a:gd name="connsiteY160" fmla="*/ 780796 h 1672942"/>
                <a:gd name="connsiteX161" fmla="*/ 1217060 w 1670028"/>
                <a:gd name="connsiteY161" fmla="*/ 780796 h 1672942"/>
                <a:gd name="connsiteX162" fmla="*/ 944763 w 1670028"/>
                <a:gd name="connsiteY162" fmla="*/ 780796 h 1672942"/>
                <a:gd name="connsiteX163" fmla="*/ 509092 w 1670028"/>
                <a:gd name="connsiteY163" fmla="*/ 585572 h 1672942"/>
                <a:gd name="connsiteX164" fmla="*/ 509092 w 1670028"/>
                <a:gd name="connsiteY164" fmla="*/ 557675 h 1672942"/>
                <a:gd name="connsiteX165" fmla="*/ 563541 w 1670028"/>
                <a:gd name="connsiteY165" fmla="*/ 557675 h 1672942"/>
                <a:gd name="connsiteX166" fmla="*/ 617989 w 1670028"/>
                <a:gd name="connsiteY166" fmla="*/ 557675 h 1672942"/>
                <a:gd name="connsiteX167" fmla="*/ 617989 w 1670028"/>
                <a:gd name="connsiteY167" fmla="*/ 585572 h 1672942"/>
                <a:gd name="connsiteX168" fmla="*/ 617989 w 1670028"/>
                <a:gd name="connsiteY168" fmla="*/ 613442 h 1672942"/>
                <a:gd name="connsiteX169" fmla="*/ 563541 w 1670028"/>
                <a:gd name="connsiteY169" fmla="*/ 613442 h 1672942"/>
                <a:gd name="connsiteX170" fmla="*/ 509092 w 1670028"/>
                <a:gd name="connsiteY170" fmla="*/ 613442 h 1672942"/>
                <a:gd name="connsiteX171" fmla="*/ 690615 w 1670028"/>
                <a:gd name="connsiteY171" fmla="*/ 585572 h 1672942"/>
                <a:gd name="connsiteX172" fmla="*/ 690615 w 1670028"/>
                <a:gd name="connsiteY172" fmla="*/ 557675 h 1672942"/>
                <a:gd name="connsiteX173" fmla="*/ 908464 w 1670028"/>
                <a:gd name="connsiteY173" fmla="*/ 557675 h 1672942"/>
                <a:gd name="connsiteX174" fmla="*/ 1126313 w 1670028"/>
                <a:gd name="connsiteY174" fmla="*/ 557675 h 1672942"/>
                <a:gd name="connsiteX175" fmla="*/ 1126313 w 1670028"/>
                <a:gd name="connsiteY175" fmla="*/ 585572 h 1672942"/>
                <a:gd name="connsiteX176" fmla="*/ 1126313 w 1670028"/>
                <a:gd name="connsiteY176" fmla="*/ 613442 h 1672942"/>
                <a:gd name="connsiteX177" fmla="*/ 908464 w 1670028"/>
                <a:gd name="connsiteY177" fmla="*/ 613442 h 1672942"/>
                <a:gd name="connsiteX178" fmla="*/ 690615 w 1670028"/>
                <a:gd name="connsiteY178" fmla="*/ 613442 h 1672942"/>
                <a:gd name="connsiteX179" fmla="*/ 1198911 w 1670028"/>
                <a:gd name="connsiteY179" fmla="*/ 585572 h 1672942"/>
                <a:gd name="connsiteX180" fmla="*/ 1198911 w 1670028"/>
                <a:gd name="connsiteY180" fmla="*/ 557675 h 1672942"/>
                <a:gd name="connsiteX181" fmla="*/ 1344134 w 1670028"/>
                <a:gd name="connsiteY181" fmla="*/ 557675 h 1672942"/>
                <a:gd name="connsiteX182" fmla="*/ 1489358 w 1670028"/>
                <a:gd name="connsiteY182" fmla="*/ 557675 h 1672942"/>
                <a:gd name="connsiteX183" fmla="*/ 1489358 w 1670028"/>
                <a:gd name="connsiteY183" fmla="*/ 585572 h 1672942"/>
                <a:gd name="connsiteX184" fmla="*/ 1489358 w 1670028"/>
                <a:gd name="connsiteY184" fmla="*/ 613442 h 1672942"/>
                <a:gd name="connsiteX185" fmla="*/ 1344134 w 1670028"/>
                <a:gd name="connsiteY185" fmla="*/ 613442 h 1672942"/>
                <a:gd name="connsiteX186" fmla="*/ 1198911 w 1670028"/>
                <a:gd name="connsiteY186" fmla="*/ 613442 h 1672942"/>
                <a:gd name="connsiteX187" fmla="*/ 193467 w 1670028"/>
                <a:gd name="connsiteY187" fmla="*/ 465445 h 1672942"/>
                <a:gd name="connsiteX188" fmla="*/ 182319 w 1670028"/>
                <a:gd name="connsiteY188" fmla="*/ 456878 h 1672942"/>
                <a:gd name="connsiteX189" fmla="*/ 182319 w 1670028"/>
                <a:gd name="connsiteY189" fmla="*/ 334527 h 1672942"/>
                <a:gd name="connsiteX190" fmla="*/ 182319 w 1670028"/>
                <a:gd name="connsiteY190" fmla="*/ 212203 h 1672942"/>
                <a:gd name="connsiteX191" fmla="*/ 193467 w 1670028"/>
                <a:gd name="connsiteY191" fmla="*/ 203636 h 1672942"/>
                <a:gd name="connsiteX192" fmla="*/ 204587 w 1670028"/>
                <a:gd name="connsiteY192" fmla="*/ 195070 h 1672942"/>
                <a:gd name="connsiteX193" fmla="*/ 363841 w 1670028"/>
                <a:gd name="connsiteY193" fmla="*/ 195070 h 1672942"/>
                <a:gd name="connsiteX194" fmla="*/ 523096 w 1670028"/>
                <a:gd name="connsiteY194" fmla="*/ 195070 h 1672942"/>
                <a:gd name="connsiteX195" fmla="*/ 534244 w 1670028"/>
                <a:gd name="connsiteY195" fmla="*/ 203636 h 1672942"/>
                <a:gd name="connsiteX196" fmla="*/ 545391 w 1670028"/>
                <a:gd name="connsiteY196" fmla="*/ 212203 h 1672942"/>
                <a:gd name="connsiteX197" fmla="*/ 545391 w 1670028"/>
                <a:gd name="connsiteY197" fmla="*/ 334527 h 1672942"/>
                <a:gd name="connsiteX198" fmla="*/ 545391 w 1670028"/>
                <a:gd name="connsiteY198" fmla="*/ 456878 h 1672942"/>
                <a:gd name="connsiteX199" fmla="*/ 534244 w 1670028"/>
                <a:gd name="connsiteY199" fmla="*/ 465445 h 1672942"/>
                <a:gd name="connsiteX200" fmla="*/ 523096 w 1670028"/>
                <a:gd name="connsiteY200" fmla="*/ 473984 h 1672942"/>
                <a:gd name="connsiteX201" fmla="*/ 363841 w 1670028"/>
                <a:gd name="connsiteY201" fmla="*/ 473984 h 1672942"/>
                <a:gd name="connsiteX202" fmla="*/ 204587 w 1670028"/>
                <a:gd name="connsiteY202" fmla="*/ 473984 h 1672942"/>
                <a:gd name="connsiteX203" fmla="*/ 472766 w 1670028"/>
                <a:gd name="connsiteY203" fmla="*/ 334527 h 1672942"/>
                <a:gd name="connsiteX204" fmla="*/ 472766 w 1670028"/>
                <a:gd name="connsiteY204" fmla="*/ 250863 h 1672942"/>
                <a:gd name="connsiteX205" fmla="*/ 363841 w 1670028"/>
                <a:gd name="connsiteY205" fmla="*/ 250863 h 1672942"/>
                <a:gd name="connsiteX206" fmla="*/ 254944 w 1670028"/>
                <a:gd name="connsiteY206" fmla="*/ 250863 h 1672942"/>
                <a:gd name="connsiteX207" fmla="*/ 254944 w 1670028"/>
                <a:gd name="connsiteY207" fmla="*/ 334527 h 1672942"/>
                <a:gd name="connsiteX208" fmla="*/ 254944 w 1670028"/>
                <a:gd name="connsiteY208" fmla="*/ 418218 h 1672942"/>
                <a:gd name="connsiteX209" fmla="*/ 363841 w 1670028"/>
                <a:gd name="connsiteY209" fmla="*/ 418218 h 1672942"/>
                <a:gd name="connsiteX210" fmla="*/ 472766 w 1670028"/>
                <a:gd name="connsiteY210" fmla="*/ 418218 h 1672942"/>
                <a:gd name="connsiteX211" fmla="*/ 654316 w 1670028"/>
                <a:gd name="connsiteY211" fmla="*/ 418218 h 1672942"/>
                <a:gd name="connsiteX212" fmla="*/ 654316 w 1670028"/>
                <a:gd name="connsiteY212" fmla="*/ 390321 h 1672942"/>
                <a:gd name="connsiteX213" fmla="*/ 817689 w 1670028"/>
                <a:gd name="connsiteY213" fmla="*/ 390321 h 1672942"/>
                <a:gd name="connsiteX214" fmla="*/ 981062 w 1670028"/>
                <a:gd name="connsiteY214" fmla="*/ 390321 h 1672942"/>
                <a:gd name="connsiteX215" fmla="*/ 981062 w 1670028"/>
                <a:gd name="connsiteY215" fmla="*/ 418218 h 1672942"/>
                <a:gd name="connsiteX216" fmla="*/ 981062 w 1670028"/>
                <a:gd name="connsiteY216" fmla="*/ 446115 h 1672942"/>
                <a:gd name="connsiteX217" fmla="*/ 817689 w 1670028"/>
                <a:gd name="connsiteY217" fmla="*/ 446115 h 1672942"/>
                <a:gd name="connsiteX218" fmla="*/ 654316 w 1670028"/>
                <a:gd name="connsiteY218" fmla="*/ 446115 h 1672942"/>
                <a:gd name="connsiteX219" fmla="*/ 654316 w 1670028"/>
                <a:gd name="connsiteY219" fmla="*/ 250863 h 1672942"/>
                <a:gd name="connsiteX220" fmla="*/ 654316 w 1670028"/>
                <a:gd name="connsiteY220" fmla="*/ 222966 h 1672942"/>
                <a:gd name="connsiteX221" fmla="*/ 690615 w 1670028"/>
                <a:gd name="connsiteY221" fmla="*/ 222966 h 1672942"/>
                <a:gd name="connsiteX222" fmla="*/ 726914 w 1670028"/>
                <a:gd name="connsiteY222" fmla="*/ 222966 h 1672942"/>
                <a:gd name="connsiteX223" fmla="*/ 726914 w 1670028"/>
                <a:gd name="connsiteY223" fmla="*/ 250863 h 1672942"/>
                <a:gd name="connsiteX224" fmla="*/ 726914 w 1670028"/>
                <a:gd name="connsiteY224" fmla="*/ 278760 h 1672942"/>
                <a:gd name="connsiteX225" fmla="*/ 690615 w 1670028"/>
                <a:gd name="connsiteY225" fmla="*/ 278760 h 1672942"/>
                <a:gd name="connsiteX226" fmla="*/ 654316 w 1670028"/>
                <a:gd name="connsiteY226" fmla="*/ 278760 h 1672942"/>
                <a:gd name="connsiteX227" fmla="*/ 799540 w 1670028"/>
                <a:gd name="connsiteY227" fmla="*/ 250863 h 1672942"/>
                <a:gd name="connsiteX228" fmla="*/ 799540 w 1670028"/>
                <a:gd name="connsiteY228" fmla="*/ 222966 h 1672942"/>
                <a:gd name="connsiteX229" fmla="*/ 890315 w 1670028"/>
                <a:gd name="connsiteY229" fmla="*/ 222966 h 1672942"/>
                <a:gd name="connsiteX230" fmla="*/ 981062 w 1670028"/>
                <a:gd name="connsiteY230" fmla="*/ 222966 h 1672942"/>
                <a:gd name="connsiteX231" fmla="*/ 981062 w 1670028"/>
                <a:gd name="connsiteY231" fmla="*/ 250863 h 1672942"/>
                <a:gd name="connsiteX232" fmla="*/ 981062 w 1670028"/>
                <a:gd name="connsiteY232" fmla="*/ 278760 h 1672942"/>
                <a:gd name="connsiteX233" fmla="*/ 890315 w 1670028"/>
                <a:gd name="connsiteY233" fmla="*/ 278760 h 1672942"/>
                <a:gd name="connsiteX234" fmla="*/ 799540 w 1670028"/>
                <a:gd name="connsiteY234" fmla="*/ 278760 h 1672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</a:cxnLst>
              <a:rect l="l" t="t" r="r" b="b"/>
              <a:pathLst>
                <a:path w="1670028" h="1672942">
                  <a:moveTo>
                    <a:pt x="66338" y="1665042"/>
                  </a:moveTo>
                  <a:cubicBezTo>
                    <a:pt x="39512" y="1655459"/>
                    <a:pt x="13509" y="1633685"/>
                    <a:pt x="6041" y="1614547"/>
                  </a:cubicBezTo>
                  <a:cubicBezTo>
                    <a:pt x="-1757" y="1594558"/>
                    <a:pt x="-1510" y="78073"/>
                    <a:pt x="6288" y="57781"/>
                  </a:cubicBezTo>
                  <a:cubicBezTo>
                    <a:pt x="14086" y="37517"/>
                    <a:pt x="51373" y="9456"/>
                    <a:pt x="77925" y="3882"/>
                  </a:cubicBezTo>
                  <a:cubicBezTo>
                    <a:pt x="93686" y="560"/>
                    <a:pt x="216037" y="-182"/>
                    <a:pt x="613459" y="587"/>
                  </a:cubicBezTo>
                  <a:cubicBezTo>
                    <a:pt x="1104841" y="1521"/>
                    <a:pt x="1129306" y="1877"/>
                    <a:pt x="1144435" y="8055"/>
                  </a:cubicBezTo>
                  <a:cubicBezTo>
                    <a:pt x="1166346" y="16952"/>
                    <a:pt x="1641336" y="381287"/>
                    <a:pt x="1656465" y="400782"/>
                  </a:cubicBezTo>
                  <a:lnTo>
                    <a:pt x="1668629" y="416461"/>
                  </a:lnTo>
                  <a:lnTo>
                    <a:pt x="1669864" y="1009161"/>
                  </a:lnTo>
                  <a:cubicBezTo>
                    <a:pt x="1671018" y="1552603"/>
                    <a:pt x="1670496" y="1603125"/>
                    <a:pt x="1663659" y="1617046"/>
                  </a:cubicBezTo>
                  <a:cubicBezTo>
                    <a:pt x="1653307" y="1638024"/>
                    <a:pt x="1632028" y="1655514"/>
                    <a:pt x="1605119" y="1665125"/>
                  </a:cubicBezTo>
                  <a:lnTo>
                    <a:pt x="1582412" y="1673252"/>
                  </a:lnTo>
                  <a:lnTo>
                    <a:pt x="835838" y="1673252"/>
                  </a:lnTo>
                  <a:lnTo>
                    <a:pt x="89265" y="1673252"/>
                  </a:lnTo>
                  <a:close/>
                  <a:moveTo>
                    <a:pt x="1587162" y="1608974"/>
                  </a:moveTo>
                  <a:lnTo>
                    <a:pt x="1598282" y="1600434"/>
                  </a:lnTo>
                  <a:lnTo>
                    <a:pt x="1598282" y="1015504"/>
                  </a:lnTo>
                  <a:lnTo>
                    <a:pt x="1598282" y="430574"/>
                  </a:lnTo>
                  <a:lnTo>
                    <a:pt x="1380461" y="263137"/>
                  </a:lnTo>
                  <a:lnTo>
                    <a:pt x="1162639" y="95728"/>
                  </a:lnTo>
                  <a:lnTo>
                    <a:pt x="1162612" y="234471"/>
                  </a:lnTo>
                  <a:lnTo>
                    <a:pt x="1162612" y="373215"/>
                  </a:lnTo>
                  <a:lnTo>
                    <a:pt x="1173732" y="381754"/>
                  </a:lnTo>
                  <a:lnTo>
                    <a:pt x="1184880" y="390321"/>
                  </a:lnTo>
                  <a:lnTo>
                    <a:pt x="1318983" y="390321"/>
                  </a:lnTo>
                  <a:lnTo>
                    <a:pt x="1453059" y="390321"/>
                  </a:lnTo>
                  <a:lnTo>
                    <a:pt x="1453059" y="418218"/>
                  </a:lnTo>
                  <a:lnTo>
                    <a:pt x="1453059" y="446115"/>
                  </a:lnTo>
                  <a:lnTo>
                    <a:pt x="1315771" y="446087"/>
                  </a:lnTo>
                  <a:cubicBezTo>
                    <a:pt x="1181173" y="446060"/>
                    <a:pt x="1178043" y="445895"/>
                    <a:pt x="1155555" y="437823"/>
                  </a:cubicBezTo>
                  <a:cubicBezTo>
                    <a:pt x="1128702" y="428240"/>
                    <a:pt x="1102727" y="406466"/>
                    <a:pt x="1095258" y="387328"/>
                  </a:cubicBezTo>
                  <a:cubicBezTo>
                    <a:pt x="1091606" y="377938"/>
                    <a:pt x="1089986" y="325384"/>
                    <a:pt x="1089986" y="214729"/>
                  </a:cubicBezTo>
                  <a:lnTo>
                    <a:pt x="1089986" y="55640"/>
                  </a:lnTo>
                  <a:lnTo>
                    <a:pt x="592838" y="55640"/>
                  </a:lnTo>
                  <a:lnTo>
                    <a:pt x="95663" y="55640"/>
                  </a:lnTo>
                  <a:lnTo>
                    <a:pt x="84542" y="64179"/>
                  </a:lnTo>
                  <a:lnTo>
                    <a:pt x="73394" y="72746"/>
                  </a:lnTo>
                  <a:lnTo>
                    <a:pt x="73394" y="836590"/>
                  </a:lnTo>
                  <a:lnTo>
                    <a:pt x="73394" y="1600434"/>
                  </a:lnTo>
                  <a:lnTo>
                    <a:pt x="84542" y="1609001"/>
                  </a:lnTo>
                  <a:lnTo>
                    <a:pt x="95663" y="1617540"/>
                  </a:lnTo>
                  <a:lnTo>
                    <a:pt x="835838" y="1617540"/>
                  </a:lnTo>
                  <a:lnTo>
                    <a:pt x="1576014" y="1617540"/>
                  </a:lnTo>
                  <a:close/>
                  <a:moveTo>
                    <a:pt x="182319" y="1422317"/>
                  </a:moveTo>
                  <a:lnTo>
                    <a:pt x="182319" y="1394419"/>
                  </a:lnTo>
                  <a:lnTo>
                    <a:pt x="273094" y="1394419"/>
                  </a:lnTo>
                  <a:lnTo>
                    <a:pt x="363841" y="1394419"/>
                  </a:lnTo>
                  <a:lnTo>
                    <a:pt x="363841" y="1422317"/>
                  </a:lnTo>
                  <a:lnTo>
                    <a:pt x="363841" y="1450186"/>
                  </a:lnTo>
                  <a:lnTo>
                    <a:pt x="273094" y="1450186"/>
                  </a:lnTo>
                  <a:lnTo>
                    <a:pt x="182319" y="1450186"/>
                  </a:lnTo>
                  <a:close/>
                  <a:moveTo>
                    <a:pt x="436467" y="1422317"/>
                  </a:moveTo>
                  <a:lnTo>
                    <a:pt x="436467" y="1394419"/>
                  </a:lnTo>
                  <a:lnTo>
                    <a:pt x="654316" y="1394419"/>
                  </a:lnTo>
                  <a:lnTo>
                    <a:pt x="872137" y="1394419"/>
                  </a:lnTo>
                  <a:lnTo>
                    <a:pt x="872137" y="1422317"/>
                  </a:lnTo>
                  <a:lnTo>
                    <a:pt x="872137" y="1450186"/>
                  </a:lnTo>
                  <a:lnTo>
                    <a:pt x="654316" y="1450186"/>
                  </a:lnTo>
                  <a:lnTo>
                    <a:pt x="436467" y="1450186"/>
                  </a:lnTo>
                  <a:close/>
                  <a:moveTo>
                    <a:pt x="182319" y="1254962"/>
                  </a:moveTo>
                  <a:lnTo>
                    <a:pt x="182319" y="1227065"/>
                  </a:lnTo>
                  <a:lnTo>
                    <a:pt x="327542" y="1227065"/>
                  </a:lnTo>
                  <a:lnTo>
                    <a:pt x="472766" y="1227065"/>
                  </a:lnTo>
                  <a:lnTo>
                    <a:pt x="472766" y="1254962"/>
                  </a:lnTo>
                  <a:lnTo>
                    <a:pt x="472766" y="1282859"/>
                  </a:lnTo>
                  <a:lnTo>
                    <a:pt x="327542" y="1282859"/>
                  </a:lnTo>
                  <a:lnTo>
                    <a:pt x="182319" y="1282859"/>
                  </a:lnTo>
                  <a:close/>
                  <a:moveTo>
                    <a:pt x="545391" y="1254962"/>
                  </a:moveTo>
                  <a:lnTo>
                    <a:pt x="545391" y="1227065"/>
                  </a:lnTo>
                  <a:lnTo>
                    <a:pt x="599840" y="1227065"/>
                  </a:lnTo>
                  <a:lnTo>
                    <a:pt x="654316" y="1227065"/>
                  </a:lnTo>
                  <a:lnTo>
                    <a:pt x="654316" y="1254962"/>
                  </a:lnTo>
                  <a:lnTo>
                    <a:pt x="654316" y="1282859"/>
                  </a:lnTo>
                  <a:lnTo>
                    <a:pt x="599840" y="1282859"/>
                  </a:lnTo>
                  <a:lnTo>
                    <a:pt x="545391" y="1282859"/>
                  </a:lnTo>
                  <a:close/>
                  <a:moveTo>
                    <a:pt x="726914" y="1254962"/>
                  </a:moveTo>
                  <a:lnTo>
                    <a:pt x="726914" y="1227065"/>
                  </a:lnTo>
                  <a:lnTo>
                    <a:pt x="962912" y="1227065"/>
                  </a:lnTo>
                  <a:lnTo>
                    <a:pt x="1198911" y="1227065"/>
                  </a:lnTo>
                  <a:lnTo>
                    <a:pt x="1198911" y="1254962"/>
                  </a:lnTo>
                  <a:lnTo>
                    <a:pt x="1198911" y="1282859"/>
                  </a:lnTo>
                  <a:lnTo>
                    <a:pt x="962912" y="1282859"/>
                  </a:lnTo>
                  <a:lnTo>
                    <a:pt x="726914" y="1282859"/>
                  </a:lnTo>
                  <a:close/>
                  <a:moveTo>
                    <a:pt x="1271536" y="1254962"/>
                  </a:moveTo>
                  <a:lnTo>
                    <a:pt x="1271536" y="1227065"/>
                  </a:lnTo>
                  <a:lnTo>
                    <a:pt x="1380461" y="1227065"/>
                  </a:lnTo>
                  <a:lnTo>
                    <a:pt x="1489358" y="1227065"/>
                  </a:lnTo>
                  <a:lnTo>
                    <a:pt x="1489358" y="1254962"/>
                  </a:lnTo>
                  <a:lnTo>
                    <a:pt x="1489358" y="1282859"/>
                  </a:lnTo>
                  <a:lnTo>
                    <a:pt x="1380461" y="1282859"/>
                  </a:lnTo>
                  <a:lnTo>
                    <a:pt x="1271536" y="1282859"/>
                  </a:lnTo>
                  <a:close/>
                  <a:moveTo>
                    <a:pt x="182319" y="1087608"/>
                  </a:moveTo>
                  <a:lnTo>
                    <a:pt x="182319" y="1059711"/>
                  </a:lnTo>
                  <a:lnTo>
                    <a:pt x="254944" y="1059711"/>
                  </a:lnTo>
                  <a:lnTo>
                    <a:pt x="327542" y="1059711"/>
                  </a:lnTo>
                  <a:lnTo>
                    <a:pt x="327542" y="1087608"/>
                  </a:lnTo>
                  <a:lnTo>
                    <a:pt x="327542" y="1115505"/>
                  </a:lnTo>
                  <a:lnTo>
                    <a:pt x="254944" y="1115505"/>
                  </a:lnTo>
                  <a:lnTo>
                    <a:pt x="182319" y="1115505"/>
                  </a:lnTo>
                  <a:close/>
                  <a:moveTo>
                    <a:pt x="400168" y="1087608"/>
                  </a:moveTo>
                  <a:lnTo>
                    <a:pt x="400168" y="1059711"/>
                  </a:lnTo>
                  <a:lnTo>
                    <a:pt x="708765" y="1059711"/>
                  </a:lnTo>
                  <a:lnTo>
                    <a:pt x="1017388" y="1059711"/>
                  </a:lnTo>
                  <a:lnTo>
                    <a:pt x="1017388" y="1087608"/>
                  </a:lnTo>
                  <a:lnTo>
                    <a:pt x="1017388" y="1115505"/>
                  </a:lnTo>
                  <a:lnTo>
                    <a:pt x="708765" y="1115505"/>
                  </a:lnTo>
                  <a:lnTo>
                    <a:pt x="400168" y="1115505"/>
                  </a:lnTo>
                  <a:close/>
                  <a:moveTo>
                    <a:pt x="1089986" y="1087608"/>
                  </a:moveTo>
                  <a:lnTo>
                    <a:pt x="1089986" y="1059711"/>
                  </a:lnTo>
                  <a:lnTo>
                    <a:pt x="1289686" y="1059711"/>
                  </a:lnTo>
                  <a:lnTo>
                    <a:pt x="1489358" y="1059711"/>
                  </a:lnTo>
                  <a:lnTo>
                    <a:pt x="1489358" y="1087608"/>
                  </a:lnTo>
                  <a:lnTo>
                    <a:pt x="1489358" y="1115505"/>
                  </a:lnTo>
                  <a:lnTo>
                    <a:pt x="1289686" y="1115505"/>
                  </a:lnTo>
                  <a:lnTo>
                    <a:pt x="1089986" y="1115505"/>
                  </a:lnTo>
                  <a:close/>
                  <a:moveTo>
                    <a:pt x="182319" y="920253"/>
                  </a:moveTo>
                  <a:lnTo>
                    <a:pt x="182319" y="892356"/>
                  </a:lnTo>
                  <a:lnTo>
                    <a:pt x="345692" y="892356"/>
                  </a:lnTo>
                  <a:lnTo>
                    <a:pt x="509092" y="892356"/>
                  </a:lnTo>
                  <a:lnTo>
                    <a:pt x="509092" y="920253"/>
                  </a:lnTo>
                  <a:lnTo>
                    <a:pt x="509092" y="948150"/>
                  </a:lnTo>
                  <a:lnTo>
                    <a:pt x="345692" y="948150"/>
                  </a:lnTo>
                  <a:lnTo>
                    <a:pt x="182319" y="948150"/>
                  </a:lnTo>
                  <a:close/>
                  <a:moveTo>
                    <a:pt x="581690" y="920253"/>
                  </a:moveTo>
                  <a:lnTo>
                    <a:pt x="581690" y="892356"/>
                  </a:lnTo>
                  <a:lnTo>
                    <a:pt x="926613" y="892356"/>
                  </a:lnTo>
                  <a:lnTo>
                    <a:pt x="1271536" y="892356"/>
                  </a:lnTo>
                  <a:lnTo>
                    <a:pt x="1271536" y="920253"/>
                  </a:lnTo>
                  <a:lnTo>
                    <a:pt x="1271536" y="948150"/>
                  </a:lnTo>
                  <a:lnTo>
                    <a:pt x="926613" y="948150"/>
                  </a:lnTo>
                  <a:lnTo>
                    <a:pt x="581690" y="948150"/>
                  </a:lnTo>
                  <a:close/>
                  <a:moveTo>
                    <a:pt x="1344134" y="920253"/>
                  </a:moveTo>
                  <a:lnTo>
                    <a:pt x="1344134" y="892356"/>
                  </a:lnTo>
                  <a:lnTo>
                    <a:pt x="1416760" y="892356"/>
                  </a:lnTo>
                  <a:lnTo>
                    <a:pt x="1489358" y="892356"/>
                  </a:lnTo>
                  <a:lnTo>
                    <a:pt x="1489358" y="920253"/>
                  </a:lnTo>
                  <a:lnTo>
                    <a:pt x="1489358" y="948150"/>
                  </a:lnTo>
                  <a:lnTo>
                    <a:pt x="1416760" y="948150"/>
                  </a:lnTo>
                  <a:lnTo>
                    <a:pt x="1344134" y="948150"/>
                  </a:lnTo>
                  <a:close/>
                  <a:moveTo>
                    <a:pt x="182319" y="752899"/>
                  </a:moveTo>
                  <a:lnTo>
                    <a:pt x="182319" y="725029"/>
                  </a:lnTo>
                  <a:lnTo>
                    <a:pt x="236767" y="725029"/>
                  </a:lnTo>
                  <a:lnTo>
                    <a:pt x="291243" y="725029"/>
                  </a:lnTo>
                  <a:lnTo>
                    <a:pt x="291243" y="752899"/>
                  </a:lnTo>
                  <a:lnTo>
                    <a:pt x="291243" y="780796"/>
                  </a:lnTo>
                  <a:lnTo>
                    <a:pt x="236767" y="780796"/>
                  </a:lnTo>
                  <a:lnTo>
                    <a:pt x="182319" y="780796"/>
                  </a:lnTo>
                  <a:close/>
                  <a:moveTo>
                    <a:pt x="363841" y="752899"/>
                  </a:moveTo>
                  <a:lnTo>
                    <a:pt x="363841" y="725029"/>
                  </a:lnTo>
                  <a:lnTo>
                    <a:pt x="617989" y="725029"/>
                  </a:lnTo>
                  <a:lnTo>
                    <a:pt x="872137" y="725029"/>
                  </a:lnTo>
                  <a:lnTo>
                    <a:pt x="872137" y="752899"/>
                  </a:lnTo>
                  <a:lnTo>
                    <a:pt x="872137" y="780796"/>
                  </a:lnTo>
                  <a:lnTo>
                    <a:pt x="617989" y="780796"/>
                  </a:lnTo>
                  <a:lnTo>
                    <a:pt x="363841" y="780796"/>
                  </a:lnTo>
                  <a:close/>
                  <a:moveTo>
                    <a:pt x="944763" y="752899"/>
                  </a:moveTo>
                  <a:lnTo>
                    <a:pt x="944763" y="725029"/>
                  </a:lnTo>
                  <a:lnTo>
                    <a:pt x="1217060" y="725029"/>
                  </a:lnTo>
                  <a:lnTo>
                    <a:pt x="1489358" y="725029"/>
                  </a:lnTo>
                  <a:lnTo>
                    <a:pt x="1489358" y="752899"/>
                  </a:lnTo>
                  <a:lnTo>
                    <a:pt x="1489358" y="780796"/>
                  </a:lnTo>
                  <a:lnTo>
                    <a:pt x="1217060" y="780796"/>
                  </a:lnTo>
                  <a:lnTo>
                    <a:pt x="944763" y="780796"/>
                  </a:lnTo>
                  <a:close/>
                  <a:moveTo>
                    <a:pt x="509092" y="585572"/>
                  </a:moveTo>
                  <a:lnTo>
                    <a:pt x="509092" y="557675"/>
                  </a:lnTo>
                  <a:lnTo>
                    <a:pt x="563541" y="557675"/>
                  </a:lnTo>
                  <a:lnTo>
                    <a:pt x="617989" y="557675"/>
                  </a:lnTo>
                  <a:lnTo>
                    <a:pt x="617989" y="585572"/>
                  </a:lnTo>
                  <a:lnTo>
                    <a:pt x="617989" y="613442"/>
                  </a:lnTo>
                  <a:lnTo>
                    <a:pt x="563541" y="613442"/>
                  </a:lnTo>
                  <a:lnTo>
                    <a:pt x="509092" y="613442"/>
                  </a:lnTo>
                  <a:close/>
                  <a:moveTo>
                    <a:pt x="690615" y="585572"/>
                  </a:moveTo>
                  <a:lnTo>
                    <a:pt x="690615" y="557675"/>
                  </a:lnTo>
                  <a:lnTo>
                    <a:pt x="908464" y="557675"/>
                  </a:lnTo>
                  <a:lnTo>
                    <a:pt x="1126313" y="557675"/>
                  </a:lnTo>
                  <a:lnTo>
                    <a:pt x="1126313" y="585572"/>
                  </a:lnTo>
                  <a:lnTo>
                    <a:pt x="1126313" y="613442"/>
                  </a:lnTo>
                  <a:lnTo>
                    <a:pt x="908464" y="613442"/>
                  </a:lnTo>
                  <a:lnTo>
                    <a:pt x="690615" y="613442"/>
                  </a:lnTo>
                  <a:close/>
                  <a:moveTo>
                    <a:pt x="1198911" y="585572"/>
                  </a:moveTo>
                  <a:lnTo>
                    <a:pt x="1198911" y="557675"/>
                  </a:lnTo>
                  <a:lnTo>
                    <a:pt x="1344134" y="557675"/>
                  </a:lnTo>
                  <a:lnTo>
                    <a:pt x="1489358" y="557675"/>
                  </a:lnTo>
                  <a:lnTo>
                    <a:pt x="1489358" y="585572"/>
                  </a:lnTo>
                  <a:lnTo>
                    <a:pt x="1489358" y="613442"/>
                  </a:lnTo>
                  <a:lnTo>
                    <a:pt x="1344134" y="613442"/>
                  </a:lnTo>
                  <a:lnTo>
                    <a:pt x="1198911" y="613442"/>
                  </a:lnTo>
                  <a:close/>
                  <a:moveTo>
                    <a:pt x="193467" y="465445"/>
                  </a:moveTo>
                  <a:lnTo>
                    <a:pt x="182319" y="456878"/>
                  </a:lnTo>
                  <a:lnTo>
                    <a:pt x="182319" y="334527"/>
                  </a:lnTo>
                  <a:lnTo>
                    <a:pt x="182319" y="212203"/>
                  </a:lnTo>
                  <a:lnTo>
                    <a:pt x="193467" y="203636"/>
                  </a:lnTo>
                  <a:lnTo>
                    <a:pt x="204587" y="195070"/>
                  </a:lnTo>
                  <a:lnTo>
                    <a:pt x="363841" y="195070"/>
                  </a:lnTo>
                  <a:lnTo>
                    <a:pt x="523096" y="195070"/>
                  </a:lnTo>
                  <a:lnTo>
                    <a:pt x="534244" y="203636"/>
                  </a:lnTo>
                  <a:lnTo>
                    <a:pt x="545391" y="212203"/>
                  </a:lnTo>
                  <a:lnTo>
                    <a:pt x="545391" y="334527"/>
                  </a:lnTo>
                  <a:lnTo>
                    <a:pt x="545391" y="456878"/>
                  </a:lnTo>
                  <a:lnTo>
                    <a:pt x="534244" y="465445"/>
                  </a:lnTo>
                  <a:lnTo>
                    <a:pt x="523096" y="473984"/>
                  </a:lnTo>
                  <a:lnTo>
                    <a:pt x="363841" y="473984"/>
                  </a:lnTo>
                  <a:lnTo>
                    <a:pt x="204587" y="473984"/>
                  </a:lnTo>
                  <a:close/>
                  <a:moveTo>
                    <a:pt x="472766" y="334527"/>
                  </a:moveTo>
                  <a:lnTo>
                    <a:pt x="472766" y="250863"/>
                  </a:lnTo>
                  <a:lnTo>
                    <a:pt x="363841" y="250863"/>
                  </a:lnTo>
                  <a:lnTo>
                    <a:pt x="254944" y="250863"/>
                  </a:lnTo>
                  <a:lnTo>
                    <a:pt x="254944" y="334527"/>
                  </a:lnTo>
                  <a:lnTo>
                    <a:pt x="254944" y="418218"/>
                  </a:lnTo>
                  <a:lnTo>
                    <a:pt x="363841" y="418218"/>
                  </a:lnTo>
                  <a:lnTo>
                    <a:pt x="472766" y="418218"/>
                  </a:lnTo>
                  <a:close/>
                  <a:moveTo>
                    <a:pt x="654316" y="418218"/>
                  </a:moveTo>
                  <a:lnTo>
                    <a:pt x="654316" y="390321"/>
                  </a:lnTo>
                  <a:lnTo>
                    <a:pt x="817689" y="390321"/>
                  </a:lnTo>
                  <a:lnTo>
                    <a:pt x="981062" y="390321"/>
                  </a:lnTo>
                  <a:lnTo>
                    <a:pt x="981062" y="418218"/>
                  </a:lnTo>
                  <a:lnTo>
                    <a:pt x="981062" y="446115"/>
                  </a:lnTo>
                  <a:lnTo>
                    <a:pt x="817689" y="446115"/>
                  </a:lnTo>
                  <a:lnTo>
                    <a:pt x="654316" y="446115"/>
                  </a:lnTo>
                  <a:close/>
                  <a:moveTo>
                    <a:pt x="654316" y="250863"/>
                  </a:moveTo>
                  <a:lnTo>
                    <a:pt x="654316" y="222966"/>
                  </a:lnTo>
                  <a:lnTo>
                    <a:pt x="690615" y="222966"/>
                  </a:lnTo>
                  <a:lnTo>
                    <a:pt x="726914" y="222966"/>
                  </a:lnTo>
                  <a:lnTo>
                    <a:pt x="726914" y="250863"/>
                  </a:lnTo>
                  <a:lnTo>
                    <a:pt x="726914" y="278760"/>
                  </a:lnTo>
                  <a:lnTo>
                    <a:pt x="690615" y="278760"/>
                  </a:lnTo>
                  <a:lnTo>
                    <a:pt x="654316" y="278760"/>
                  </a:lnTo>
                  <a:close/>
                  <a:moveTo>
                    <a:pt x="799540" y="250863"/>
                  </a:moveTo>
                  <a:lnTo>
                    <a:pt x="799540" y="222966"/>
                  </a:lnTo>
                  <a:lnTo>
                    <a:pt x="890315" y="222966"/>
                  </a:lnTo>
                  <a:lnTo>
                    <a:pt x="981062" y="222966"/>
                  </a:lnTo>
                  <a:lnTo>
                    <a:pt x="981062" y="250863"/>
                  </a:lnTo>
                  <a:lnTo>
                    <a:pt x="981062" y="278760"/>
                  </a:lnTo>
                  <a:lnTo>
                    <a:pt x="890315" y="278760"/>
                  </a:lnTo>
                  <a:lnTo>
                    <a:pt x="799540" y="278760"/>
                  </a:lnTo>
                  <a:close/>
                </a:path>
              </a:pathLst>
            </a:custGeom>
            <a:solidFill>
              <a:schemeClr val="bg1"/>
            </a:solidFill>
            <a:ln w="39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latin typeface="IBM Plex Sans Light" panose="020B0403050203000203" pitchFamily="34" charset="0"/>
              </a:endParaRPr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13F638C-22DB-46C4-99D4-2CB9E57DD7BE}"/>
              </a:ext>
            </a:extLst>
          </p:cNvPr>
          <p:cNvSpPr/>
          <p:nvPr/>
        </p:nvSpPr>
        <p:spPr>
          <a:xfrm flipH="1">
            <a:off x="898375" y="3481562"/>
            <a:ext cx="8593604" cy="844289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0" tIns="37148" rIns="7312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975" dirty="0">
              <a:solidFill>
                <a:schemeClr val="tx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0381BF5-FB30-4AA2-8DCF-28FA17AB648A}"/>
              </a:ext>
            </a:extLst>
          </p:cNvPr>
          <p:cNvSpPr/>
          <p:nvPr/>
        </p:nvSpPr>
        <p:spPr>
          <a:xfrm flipH="1">
            <a:off x="417204" y="3481562"/>
            <a:ext cx="4379976" cy="844289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B3938D7-21EA-4C07-8B82-9A6B0530E89B}"/>
              </a:ext>
            </a:extLst>
          </p:cNvPr>
          <p:cNvSpPr txBox="1"/>
          <p:nvPr/>
        </p:nvSpPr>
        <p:spPr>
          <a:xfrm>
            <a:off x="1964851" y="3690711"/>
            <a:ext cx="1284682" cy="513873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Light" panose="020B0403050203000203" pitchFamily="34" charset="0"/>
              </a:rPr>
              <a:t>Mov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9D3668-C421-4C70-ABBB-16F512780EDC}"/>
              </a:ext>
            </a:extLst>
          </p:cNvPr>
          <p:cNvSpPr txBox="1"/>
          <p:nvPr/>
        </p:nvSpPr>
        <p:spPr>
          <a:xfrm>
            <a:off x="5939248" y="3522302"/>
            <a:ext cx="3443648" cy="738229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algn="r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</a:rPr>
              <a:t>It is one of the oldest platforms of media and people went to the theaters to watch.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63902CF-E110-4316-85A1-333E9F2180B7}"/>
              </a:ext>
            </a:extLst>
          </p:cNvPr>
          <p:cNvGrpSpPr/>
          <p:nvPr/>
        </p:nvGrpSpPr>
        <p:grpSpPr>
          <a:xfrm>
            <a:off x="4015859" y="3562001"/>
            <a:ext cx="685163" cy="685163"/>
            <a:chOff x="4133609" y="3329463"/>
            <a:chExt cx="822960" cy="82296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F2F106A-B9EC-4647-BA6A-1EB1A0ACDC3C}"/>
                </a:ext>
              </a:extLst>
            </p:cNvPr>
            <p:cNvSpPr/>
            <p:nvPr/>
          </p:nvSpPr>
          <p:spPr>
            <a:xfrm flipH="1">
              <a:off x="4133609" y="3329463"/>
              <a:ext cx="822960" cy="82296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975" b="1" dirty="0">
                <a:solidFill>
                  <a:prstClr val="white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7D08A5A-D23F-4479-93B4-FD7F6BFAFB4A}"/>
                </a:ext>
              </a:extLst>
            </p:cNvPr>
            <p:cNvSpPr/>
            <p:nvPr/>
          </p:nvSpPr>
          <p:spPr>
            <a:xfrm>
              <a:off x="4316489" y="3512343"/>
              <a:ext cx="457200" cy="457200"/>
            </a:xfrm>
            <a:custGeom>
              <a:avLst/>
              <a:gdLst>
                <a:gd name="connsiteX0" fmla="*/ 37730 w 1530952"/>
                <a:gd name="connsiteY0" fmla="*/ 1753860 h 1760177"/>
                <a:gd name="connsiteX1" fmla="*/ 31019 w 1530952"/>
                <a:gd name="connsiteY1" fmla="*/ 1747490 h 1760177"/>
                <a:gd name="connsiteX2" fmla="*/ 30995 w 1530952"/>
                <a:gd name="connsiteY2" fmla="*/ 1137354 h 1760177"/>
                <a:gd name="connsiteX3" fmla="*/ 30970 w 1530952"/>
                <a:gd name="connsiteY3" fmla="*/ 527220 h 1760177"/>
                <a:gd name="connsiteX4" fmla="*/ 19905 w 1530952"/>
                <a:gd name="connsiteY4" fmla="*/ 453653 h 1760177"/>
                <a:gd name="connsiteX5" fmla="*/ 4973 w 1530952"/>
                <a:gd name="connsiteY5" fmla="*/ 297556 h 1760177"/>
                <a:gd name="connsiteX6" fmla="*/ 456695 w 1530952"/>
                <a:gd name="connsiteY6" fmla="*/ 200208 h 1760177"/>
                <a:gd name="connsiteX7" fmla="*/ 757315 w 1530952"/>
                <a:gd name="connsiteY7" fmla="*/ 139886 h 1760177"/>
                <a:gd name="connsiteX8" fmla="*/ 1201915 w 1530952"/>
                <a:gd name="connsiteY8" fmla="*/ 50550 h 1760177"/>
                <a:gd name="connsiteX9" fmla="*/ 1355390 w 1530952"/>
                <a:gd name="connsiteY9" fmla="*/ 19827 h 1760177"/>
                <a:gd name="connsiteX10" fmla="*/ 1458671 w 1530952"/>
                <a:gd name="connsiteY10" fmla="*/ 52 h 1760177"/>
                <a:gd name="connsiteX11" fmla="*/ 1470615 w 1530952"/>
                <a:gd name="connsiteY11" fmla="*/ 6412 h 1760177"/>
                <a:gd name="connsiteX12" fmla="*/ 1493469 w 1530952"/>
                <a:gd name="connsiteY12" fmla="*/ 119109 h 1760177"/>
                <a:gd name="connsiteX13" fmla="*/ 1507595 w 1530952"/>
                <a:gd name="connsiteY13" fmla="*/ 234469 h 1760177"/>
                <a:gd name="connsiteX14" fmla="*/ 1499589 w 1530952"/>
                <a:gd name="connsiteY14" fmla="*/ 247210 h 1760177"/>
                <a:gd name="connsiteX15" fmla="*/ 1214573 w 1530952"/>
                <a:gd name="connsiteY15" fmla="*/ 307177 h 1760177"/>
                <a:gd name="connsiteX16" fmla="*/ 1059517 w 1530952"/>
                <a:gd name="connsiteY16" fmla="*/ 338386 h 1760177"/>
                <a:gd name="connsiteX17" fmla="*/ 369740 w 1530952"/>
                <a:gd name="connsiteY17" fmla="*/ 476877 h 1760177"/>
                <a:gd name="connsiteX18" fmla="*/ 313045 w 1530952"/>
                <a:gd name="connsiteY18" fmla="*/ 489414 h 1760177"/>
                <a:gd name="connsiteX19" fmla="*/ 915007 w 1530952"/>
                <a:gd name="connsiteY19" fmla="*/ 491004 h 1760177"/>
                <a:gd name="connsiteX20" fmla="*/ 1524685 w 1530952"/>
                <a:gd name="connsiteY20" fmla="*/ 498277 h 1760177"/>
                <a:gd name="connsiteX21" fmla="*/ 1531014 w 1530952"/>
                <a:gd name="connsiteY21" fmla="*/ 1125610 h 1760177"/>
                <a:gd name="connsiteX22" fmla="*/ 1524685 w 1530952"/>
                <a:gd name="connsiteY22" fmla="*/ 1752954 h 1760177"/>
                <a:gd name="connsiteX23" fmla="*/ 1290518 w 1530952"/>
                <a:gd name="connsiteY23" fmla="*/ 1760203 h 1760177"/>
                <a:gd name="connsiteX24" fmla="*/ 1056351 w 1530952"/>
                <a:gd name="connsiteY24" fmla="*/ 1752954 h 1760177"/>
                <a:gd name="connsiteX25" fmla="*/ 1056071 w 1530952"/>
                <a:gd name="connsiteY25" fmla="*/ 1719706 h 1760177"/>
                <a:gd name="connsiteX26" fmla="*/ 1062120 w 1530952"/>
                <a:gd name="connsiteY26" fmla="*/ 1711120 h 1760177"/>
                <a:gd name="connsiteX27" fmla="*/ 1274417 w 1530952"/>
                <a:gd name="connsiteY27" fmla="*/ 1710134 h 1760177"/>
                <a:gd name="connsiteX28" fmla="*/ 1486711 w 1530952"/>
                <a:gd name="connsiteY28" fmla="*/ 1709148 h 1760177"/>
                <a:gd name="connsiteX29" fmla="*/ 1486711 w 1530952"/>
                <a:gd name="connsiteY29" fmla="*/ 1227363 h 1760177"/>
                <a:gd name="connsiteX30" fmla="*/ 1486711 w 1530952"/>
                <a:gd name="connsiteY30" fmla="*/ 745574 h 1760177"/>
                <a:gd name="connsiteX31" fmla="*/ 779465 w 1530952"/>
                <a:gd name="connsiteY31" fmla="*/ 745574 h 1760177"/>
                <a:gd name="connsiteX32" fmla="*/ 72220 w 1530952"/>
                <a:gd name="connsiteY32" fmla="*/ 745574 h 1760177"/>
                <a:gd name="connsiteX33" fmla="*/ 72220 w 1530952"/>
                <a:gd name="connsiteY33" fmla="*/ 1227363 h 1760177"/>
                <a:gd name="connsiteX34" fmla="*/ 72220 w 1530952"/>
                <a:gd name="connsiteY34" fmla="*/ 1709151 h 1760177"/>
                <a:gd name="connsiteX35" fmla="*/ 282935 w 1530952"/>
                <a:gd name="connsiteY35" fmla="*/ 1710137 h 1760177"/>
                <a:gd name="connsiteX36" fmla="*/ 493648 w 1530952"/>
                <a:gd name="connsiteY36" fmla="*/ 1711122 h 1760177"/>
                <a:gd name="connsiteX37" fmla="*/ 499697 w 1530952"/>
                <a:gd name="connsiteY37" fmla="*/ 1719708 h 1760177"/>
                <a:gd name="connsiteX38" fmla="*/ 499186 w 1530952"/>
                <a:gd name="connsiteY38" fmla="*/ 1750648 h 1760177"/>
                <a:gd name="connsiteX39" fmla="*/ 492626 w 1530952"/>
                <a:gd name="connsiteY39" fmla="*/ 1760230 h 1760177"/>
                <a:gd name="connsiteX40" fmla="*/ 268534 w 1530952"/>
                <a:gd name="connsiteY40" fmla="*/ 1760230 h 1760177"/>
                <a:gd name="connsiteX41" fmla="*/ 37730 w 1530952"/>
                <a:gd name="connsiteY41" fmla="*/ 1753860 h 1760177"/>
                <a:gd name="connsiteX42" fmla="*/ 292150 w 1530952"/>
                <a:gd name="connsiteY42" fmla="*/ 621378 h 1760177"/>
                <a:gd name="connsiteX43" fmla="*/ 343833 w 1530952"/>
                <a:gd name="connsiteY43" fmla="*/ 545007 h 1760177"/>
                <a:gd name="connsiteX44" fmla="*/ 208555 w 1530952"/>
                <a:gd name="connsiteY44" fmla="*/ 541918 h 1760177"/>
                <a:gd name="connsiteX45" fmla="*/ 72220 w 1530952"/>
                <a:gd name="connsiteY45" fmla="*/ 541918 h 1760177"/>
                <a:gd name="connsiteX46" fmla="*/ 72220 w 1530952"/>
                <a:gd name="connsiteY46" fmla="*/ 618289 h 1760177"/>
                <a:gd name="connsiteX47" fmla="*/ 72220 w 1530952"/>
                <a:gd name="connsiteY47" fmla="*/ 694660 h 1760177"/>
                <a:gd name="connsiteX48" fmla="*/ 156871 w 1530952"/>
                <a:gd name="connsiteY48" fmla="*/ 694660 h 1760177"/>
                <a:gd name="connsiteX49" fmla="*/ 241521 w 1530952"/>
                <a:gd name="connsiteY49" fmla="*/ 694660 h 1760177"/>
                <a:gd name="connsiteX50" fmla="*/ 596455 w 1530952"/>
                <a:gd name="connsiteY50" fmla="*/ 622833 h 1760177"/>
                <a:gd name="connsiteX51" fmla="*/ 649033 w 1530952"/>
                <a:gd name="connsiteY51" fmla="*/ 546462 h 1760177"/>
                <a:gd name="connsiteX52" fmla="*/ 527300 w 1530952"/>
                <a:gd name="connsiteY52" fmla="*/ 541918 h 1760177"/>
                <a:gd name="connsiteX53" fmla="*/ 402516 w 1530952"/>
                <a:gd name="connsiteY53" fmla="*/ 541918 h 1760177"/>
                <a:gd name="connsiteX54" fmla="*/ 349778 w 1530952"/>
                <a:gd name="connsiteY54" fmla="*/ 618289 h 1760177"/>
                <a:gd name="connsiteX55" fmla="*/ 297043 w 1530952"/>
                <a:gd name="connsiteY55" fmla="*/ 694660 h 1760177"/>
                <a:gd name="connsiteX56" fmla="*/ 421983 w 1530952"/>
                <a:gd name="connsiteY56" fmla="*/ 694660 h 1760177"/>
                <a:gd name="connsiteX57" fmla="*/ 546924 w 1530952"/>
                <a:gd name="connsiteY57" fmla="*/ 694660 h 1760177"/>
                <a:gd name="connsiteX58" fmla="*/ 905447 w 1530952"/>
                <a:gd name="connsiteY58" fmla="*/ 618289 h 1760177"/>
                <a:gd name="connsiteX59" fmla="*/ 958143 w 1530952"/>
                <a:gd name="connsiteY59" fmla="*/ 541918 h 1760177"/>
                <a:gd name="connsiteX60" fmla="*/ 833194 w 1530952"/>
                <a:gd name="connsiteY60" fmla="*/ 541918 h 1760177"/>
                <a:gd name="connsiteX61" fmla="*/ 708246 w 1530952"/>
                <a:gd name="connsiteY61" fmla="*/ 541918 h 1760177"/>
                <a:gd name="connsiteX62" fmla="*/ 658740 w 1530952"/>
                <a:gd name="connsiteY62" fmla="*/ 613742 h 1760177"/>
                <a:gd name="connsiteX63" fmla="*/ 606153 w 1530952"/>
                <a:gd name="connsiteY63" fmla="*/ 690113 h 1760177"/>
                <a:gd name="connsiteX64" fmla="*/ 727905 w 1530952"/>
                <a:gd name="connsiteY64" fmla="*/ 694660 h 1760177"/>
                <a:gd name="connsiteX65" fmla="*/ 852747 w 1530952"/>
                <a:gd name="connsiteY65" fmla="*/ 694660 h 1760177"/>
                <a:gd name="connsiteX66" fmla="*/ 1206662 w 1530952"/>
                <a:gd name="connsiteY66" fmla="*/ 625233 h 1760177"/>
                <a:gd name="connsiteX67" fmla="*/ 1258470 w 1530952"/>
                <a:gd name="connsiteY67" fmla="*/ 549035 h 1760177"/>
                <a:gd name="connsiteX68" fmla="*/ 1138222 w 1530952"/>
                <a:gd name="connsiteY68" fmla="*/ 541918 h 1760177"/>
                <a:gd name="connsiteX69" fmla="*/ 1013632 w 1530952"/>
                <a:gd name="connsiteY69" fmla="*/ 541918 h 1760177"/>
                <a:gd name="connsiteX70" fmla="*/ 963001 w 1530952"/>
                <a:gd name="connsiteY70" fmla="*/ 615288 h 1760177"/>
                <a:gd name="connsiteX71" fmla="*/ 911317 w 1530952"/>
                <a:gd name="connsiteY71" fmla="*/ 691659 h 1760177"/>
                <a:gd name="connsiteX72" fmla="*/ 1034728 w 1530952"/>
                <a:gd name="connsiteY72" fmla="*/ 694487 h 1760177"/>
                <a:gd name="connsiteX73" fmla="*/ 1159196 w 1530952"/>
                <a:gd name="connsiteY73" fmla="*/ 694322 h 1760177"/>
                <a:gd name="connsiteX74" fmla="*/ 1206662 w 1530952"/>
                <a:gd name="connsiteY74" fmla="*/ 625241 h 1760177"/>
                <a:gd name="connsiteX75" fmla="*/ 1486711 w 1530952"/>
                <a:gd name="connsiteY75" fmla="*/ 618289 h 1760177"/>
                <a:gd name="connsiteX76" fmla="*/ 1486711 w 1530952"/>
                <a:gd name="connsiteY76" fmla="*/ 541918 h 1760177"/>
                <a:gd name="connsiteX77" fmla="*/ 1403100 w 1530952"/>
                <a:gd name="connsiteY77" fmla="*/ 541918 h 1760177"/>
                <a:gd name="connsiteX78" fmla="*/ 1319489 w 1530952"/>
                <a:gd name="connsiteY78" fmla="*/ 541918 h 1760177"/>
                <a:gd name="connsiteX79" fmla="*/ 1271254 w 1530952"/>
                <a:gd name="connsiteY79" fmla="*/ 611924 h 1760177"/>
                <a:gd name="connsiteX80" fmla="*/ 1218304 w 1530952"/>
                <a:gd name="connsiteY80" fmla="*/ 688295 h 1760177"/>
                <a:gd name="connsiteX81" fmla="*/ 1350151 w 1530952"/>
                <a:gd name="connsiteY81" fmla="*/ 694660 h 1760177"/>
                <a:gd name="connsiteX82" fmla="*/ 1486711 w 1530952"/>
                <a:gd name="connsiteY82" fmla="*/ 694660 h 1760177"/>
                <a:gd name="connsiteX83" fmla="*/ 285027 w 1530952"/>
                <a:gd name="connsiteY83" fmla="*/ 443213 h 1760177"/>
                <a:gd name="connsiteX84" fmla="*/ 363345 w 1530952"/>
                <a:gd name="connsiteY84" fmla="*/ 425391 h 1760177"/>
                <a:gd name="connsiteX85" fmla="*/ 304533 w 1530952"/>
                <a:gd name="connsiteY85" fmla="*/ 358306 h 1760177"/>
                <a:gd name="connsiteX86" fmla="*/ 245722 w 1530952"/>
                <a:gd name="connsiteY86" fmla="*/ 293415 h 1760177"/>
                <a:gd name="connsiteX87" fmla="*/ 147105 w 1530952"/>
                <a:gd name="connsiteY87" fmla="*/ 312842 h 1760177"/>
                <a:gd name="connsiteX88" fmla="*/ 47307 w 1530952"/>
                <a:gd name="connsiteY88" fmla="*/ 333287 h 1760177"/>
                <a:gd name="connsiteX89" fmla="*/ 67975 w 1530952"/>
                <a:gd name="connsiteY89" fmla="*/ 478623 h 1760177"/>
                <a:gd name="connsiteX90" fmla="*/ 138101 w 1530952"/>
                <a:gd name="connsiteY90" fmla="*/ 472541 h 1760177"/>
                <a:gd name="connsiteX91" fmla="*/ 285027 w 1530952"/>
                <a:gd name="connsiteY91" fmla="*/ 443213 h 1760177"/>
                <a:gd name="connsiteX92" fmla="*/ 546355 w 1530952"/>
                <a:gd name="connsiteY92" fmla="*/ 390670 h 1760177"/>
                <a:gd name="connsiteX93" fmla="*/ 666340 w 1530952"/>
                <a:gd name="connsiteY93" fmla="*/ 365819 h 1760177"/>
                <a:gd name="connsiteX94" fmla="*/ 607188 w 1530952"/>
                <a:gd name="connsiteY94" fmla="*/ 298742 h 1760177"/>
                <a:gd name="connsiteX95" fmla="*/ 547242 w 1530952"/>
                <a:gd name="connsiteY95" fmla="*/ 232558 h 1760177"/>
                <a:gd name="connsiteX96" fmla="*/ 425094 w 1530952"/>
                <a:gd name="connsiteY96" fmla="*/ 257226 h 1760177"/>
                <a:gd name="connsiteX97" fmla="*/ 302293 w 1530952"/>
                <a:gd name="connsiteY97" fmla="*/ 284165 h 1760177"/>
                <a:gd name="connsiteX98" fmla="*/ 422942 w 1530952"/>
                <a:gd name="connsiteY98" fmla="*/ 414550 h 1760177"/>
                <a:gd name="connsiteX99" fmla="*/ 546355 w 1530952"/>
                <a:gd name="connsiteY99" fmla="*/ 390670 h 1760177"/>
                <a:gd name="connsiteX100" fmla="*/ 844337 w 1530952"/>
                <a:gd name="connsiteY100" fmla="*/ 330989 h 1760177"/>
                <a:gd name="connsiteX101" fmla="*/ 962396 w 1530952"/>
                <a:gd name="connsiteY101" fmla="*/ 306224 h 1760177"/>
                <a:gd name="connsiteX102" fmla="*/ 909670 w 1530952"/>
                <a:gd name="connsiteY102" fmla="*/ 239102 h 1760177"/>
                <a:gd name="connsiteX103" fmla="*/ 843821 w 1530952"/>
                <a:gd name="connsiteY103" fmla="*/ 174617 h 1760177"/>
                <a:gd name="connsiteX104" fmla="*/ 602193 w 1530952"/>
                <a:gd name="connsiteY104" fmla="*/ 222685 h 1760177"/>
                <a:gd name="connsiteX105" fmla="*/ 661955 w 1530952"/>
                <a:gd name="connsiteY105" fmla="*/ 289950 h 1760177"/>
                <a:gd name="connsiteX106" fmla="*/ 727255 w 1530952"/>
                <a:gd name="connsiteY106" fmla="*/ 354660 h 1760177"/>
                <a:gd name="connsiteX107" fmla="*/ 844337 w 1530952"/>
                <a:gd name="connsiteY107" fmla="*/ 330989 h 1760177"/>
                <a:gd name="connsiteX108" fmla="*/ 1153658 w 1530952"/>
                <a:gd name="connsiteY108" fmla="*/ 268684 h 1760177"/>
                <a:gd name="connsiteX109" fmla="*/ 1268368 w 1530952"/>
                <a:gd name="connsiteY109" fmla="*/ 243654 h 1760177"/>
                <a:gd name="connsiteX110" fmla="*/ 1157939 w 1530952"/>
                <a:gd name="connsiteY110" fmla="*/ 121635 h 1760177"/>
                <a:gd name="connsiteX111" fmla="*/ 1148065 w 1530952"/>
                <a:gd name="connsiteY111" fmla="*/ 112085 h 1760177"/>
                <a:gd name="connsiteX112" fmla="*/ 1027054 w 1530952"/>
                <a:gd name="connsiteY112" fmla="*/ 136391 h 1760177"/>
                <a:gd name="connsiteX113" fmla="*/ 904922 w 1530952"/>
                <a:gd name="connsiteY113" fmla="*/ 161967 h 1760177"/>
                <a:gd name="connsiteX114" fmla="*/ 942896 w 1530952"/>
                <a:gd name="connsiteY114" fmla="*/ 206276 h 1760177"/>
                <a:gd name="connsiteX115" fmla="*/ 1002556 w 1530952"/>
                <a:gd name="connsiteY115" fmla="*/ 272056 h 1760177"/>
                <a:gd name="connsiteX116" fmla="*/ 1031038 w 1530952"/>
                <a:gd name="connsiteY116" fmla="*/ 293199 h 1760177"/>
                <a:gd name="connsiteX117" fmla="*/ 1153658 w 1530952"/>
                <a:gd name="connsiteY117" fmla="*/ 268684 h 1760177"/>
                <a:gd name="connsiteX118" fmla="*/ 1395546 w 1530952"/>
                <a:gd name="connsiteY118" fmla="*/ 220126 h 1760177"/>
                <a:gd name="connsiteX119" fmla="*/ 1460651 w 1530952"/>
                <a:gd name="connsiteY119" fmla="*/ 205771 h 1760177"/>
                <a:gd name="connsiteX120" fmla="*/ 1438465 w 1530952"/>
                <a:gd name="connsiteY120" fmla="*/ 56127 h 1760177"/>
                <a:gd name="connsiteX121" fmla="*/ 1207580 w 1530952"/>
                <a:gd name="connsiteY121" fmla="*/ 101536 h 1760177"/>
                <a:gd name="connsiteX122" fmla="*/ 1327828 w 1530952"/>
                <a:gd name="connsiteY122" fmla="*/ 232789 h 1760177"/>
                <a:gd name="connsiteX123" fmla="*/ 1395546 w 1530952"/>
                <a:gd name="connsiteY123" fmla="*/ 220126 h 1760177"/>
                <a:gd name="connsiteX124" fmla="*/ 623531 w 1530952"/>
                <a:gd name="connsiteY124" fmla="*/ 1754547 h 1760177"/>
                <a:gd name="connsiteX125" fmla="*/ 616548 w 1530952"/>
                <a:gd name="connsiteY125" fmla="*/ 1737279 h 1760177"/>
                <a:gd name="connsiteX126" fmla="*/ 669660 w 1530952"/>
                <a:gd name="connsiteY126" fmla="*/ 1709302 h 1760177"/>
                <a:gd name="connsiteX127" fmla="*/ 712587 w 1530952"/>
                <a:gd name="connsiteY127" fmla="*/ 1716839 h 1760177"/>
                <a:gd name="connsiteX128" fmla="*/ 714597 w 1530952"/>
                <a:gd name="connsiteY128" fmla="*/ 1752954 h 1760177"/>
                <a:gd name="connsiteX129" fmla="*/ 669415 w 1530952"/>
                <a:gd name="connsiteY129" fmla="*/ 1760203 h 1760177"/>
                <a:gd name="connsiteX130" fmla="*/ 623531 w 1530952"/>
                <a:gd name="connsiteY130" fmla="*/ 1754547 h 1760177"/>
                <a:gd name="connsiteX131" fmla="*/ 838131 w 1530952"/>
                <a:gd name="connsiteY131" fmla="*/ 1752268 h 1760177"/>
                <a:gd name="connsiteX132" fmla="*/ 837722 w 1530952"/>
                <a:gd name="connsiteY132" fmla="*/ 1719706 h 1760177"/>
                <a:gd name="connsiteX133" fmla="*/ 882871 w 1530952"/>
                <a:gd name="connsiteY133" fmla="*/ 1709931 h 1760177"/>
                <a:gd name="connsiteX134" fmla="*/ 930622 w 1530952"/>
                <a:gd name="connsiteY134" fmla="*/ 1716559 h 1760177"/>
                <a:gd name="connsiteX135" fmla="*/ 932940 w 1530952"/>
                <a:gd name="connsiteY135" fmla="*/ 1752954 h 1760177"/>
                <a:gd name="connsiteX136" fmla="*/ 885597 w 1530952"/>
                <a:gd name="connsiteY136" fmla="*/ 1760203 h 1760177"/>
                <a:gd name="connsiteX137" fmla="*/ 838131 w 1530952"/>
                <a:gd name="connsiteY137" fmla="*/ 1752268 h 1760177"/>
                <a:gd name="connsiteX138" fmla="*/ 675730 w 1530952"/>
                <a:gd name="connsiteY138" fmla="*/ 1456999 h 1760177"/>
                <a:gd name="connsiteX139" fmla="*/ 619662 w 1530952"/>
                <a:gd name="connsiteY139" fmla="*/ 1383802 h 1760177"/>
                <a:gd name="connsiteX140" fmla="*/ 617125 w 1530952"/>
                <a:gd name="connsiteY140" fmla="*/ 1215946 h 1760177"/>
                <a:gd name="connsiteX141" fmla="*/ 639950 w 1530952"/>
                <a:gd name="connsiteY141" fmla="*/ 1026436 h 1760177"/>
                <a:gd name="connsiteX142" fmla="*/ 706502 w 1530952"/>
                <a:gd name="connsiteY142" fmla="*/ 997078 h 1760177"/>
                <a:gd name="connsiteX143" fmla="*/ 728982 w 1530952"/>
                <a:gd name="connsiteY143" fmla="*/ 998382 h 1760177"/>
                <a:gd name="connsiteX144" fmla="*/ 835874 w 1530952"/>
                <a:gd name="connsiteY144" fmla="*/ 1070711 h 1760177"/>
                <a:gd name="connsiteX145" fmla="*/ 955046 w 1530952"/>
                <a:gd name="connsiteY145" fmla="*/ 1153263 h 1760177"/>
                <a:gd name="connsiteX146" fmla="*/ 962015 w 1530952"/>
                <a:gd name="connsiteY146" fmla="*/ 1295600 h 1760177"/>
                <a:gd name="connsiteX147" fmla="*/ 736975 w 1530952"/>
                <a:gd name="connsiteY147" fmla="*/ 1450978 h 1760177"/>
                <a:gd name="connsiteX148" fmla="*/ 675730 w 1530952"/>
                <a:gd name="connsiteY148" fmla="*/ 1456999 h 1760177"/>
                <a:gd name="connsiteX149" fmla="*/ 822187 w 1530952"/>
                <a:gd name="connsiteY149" fmla="*/ 1336891 h 1760177"/>
                <a:gd name="connsiteX150" fmla="*/ 935024 w 1530952"/>
                <a:gd name="connsiteY150" fmla="*/ 1255831 h 1760177"/>
                <a:gd name="connsiteX151" fmla="*/ 930650 w 1530952"/>
                <a:gd name="connsiteY151" fmla="*/ 1195943 h 1760177"/>
                <a:gd name="connsiteX152" fmla="*/ 704547 w 1530952"/>
                <a:gd name="connsiteY152" fmla="*/ 1045219 h 1760177"/>
                <a:gd name="connsiteX153" fmla="*/ 666584 w 1530952"/>
                <a:gd name="connsiteY153" fmla="*/ 1069465 h 1760177"/>
                <a:gd name="connsiteX154" fmla="*/ 660802 w 1530952"/>
                <a:gd name="connsiteY154" fmla="*/ 1228469 h 1760177"/>
                <a:gd name="connsiteX155" fmla="*/ 680733 w 1530952"/>
                <a:gd name="connsiteY155" fmla="*/ 1404176 h 1760177"/>
                <a:gd name="connsiteX156" fmla="*/ 822187 w 1530952"/>
                <a:gd name="connsiteY156" fmla="*/ 1336891 h 1760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1530952" h="1760177">
                  <a:moveTo>
                    <a:pt x="37730" y="1753860"/>
                  </a:moveTo>
                  <a:lnTo>
                    <a:pt x="31019" y="1747490"/>
                  </a:lnTo>
                  <a:lnTo>
                    <a:pt x="30995" y="1137354"/>
                  </a:lnTo>
                  <a:lnTo>
                    <a:pt x="30970" y="527220"/>
                  </a:lnTo>
                  <a:lnTo>
                    <a:pt x="19905" y="453653"/>
                  </a:lnTo>
                  <a:cubicBezTo>
                    <a:pt x="-3717" y="296623"/>
                    <a:pt x="-2778" y="306463"/>
                    <a:pt x="4973" y="297556"/>
                  </a:cubicBezTo>
                  <a:cubicBezTo>
                    <a:pt x="12362" y="289063"/>
                    <a:pt x="9935" y="289585"/>
                    <a:pt x="456695" y="200208"/>
                  </a:cubicBezTo>
                  <a:cubicBezTo>
                    <a:pt x="568083" y="177923"/>
                    <a:pt x="703361" y="150779"/>
                    <a:pt x="757315" y="139886"/>
                  </a:cubicBezTo>
                  <a:cubicBezTo>
                    <a:pt x="945200" y="101959"/>
                    <a:pt x="1146909" y="61426"/>
                    <a:pt x="1201915" y="50550"/>
                  </a:cubicBezTo>
                  <a:cubicBezTo>
                    <a:pt x="1232374" y="44528"/>
                    <a:pt x="1301435" y="30704"/>
                    <a:pt x="1355390" y="19827"/>
                  </a:cubicBezTo>
                  <a:cubicBezTo>
                    <a:pt x="1409341" y="8952"/>
                    <a:pt x="1455819" y="52"/>
                    <a:pt x="1458671" y="52"/>
                  </a:cubicBezTo>
                  <a:cubicBezTo>
                    <a:pt x="1461527" y="50"/>
                    <a:pt x="1466900" y="2911"/>
                    <a:pt x="1470615" y="6412"/>
                  </a:cubicBezTo>
                  <a:cubicBezTo>
                    <a:pt x="1476406" y="11868"/>
                    <a:pt x="1479668" y="27947"/>
                    <a:pt x="1493469" y="119109"/>
                  </a:cubicBezTo>
                  <a:cubicBezTo>
                    <a:pt x="1502346" y="177734"/>
                    <a:pt x="1508683" y="229491"/>
                    <a:pt x="1507595" y="234469"/>
                  </a:cubicBezTo>
                  <a:cubicBezTo>
                    <a:pt x="1506511" y="239434"/>
                    <a:pt x="1502908" y="245167"/>
                    <a:pt x="1499589" y="247210"/>
                  </a:cubicBezTo>
                  <a:cubicBezTo>
                    <a:pt x="1493683" y="250842"/>
                    <a:pt x="1421096" y="266114"/>
                    <a:pt x="1214573" y="307177"/>
                  </a:cubicBezTo>
                  <a:cubicBezTo>
                    <a:pt x="1158007" y="318424"/>
                    <a:pt x="1088235" y="332469"/>
                    <a:pt x="1059517" y="338386"/>
                  </a:cubicBezTo>
                  <a:cubicBezTo>
                    <a:pt x="1005961" y="349426"/>
                    <a:pt x="469035" y="457228"/>
                    <a:pt x="369740" y="476877"/>
                  </a:cubicBezTo>
                  <a:cubicBezTo>
                    <a:pt x="339319" y="482898"/>
                    <a:pt x="313806" y="488538"/>
                    <a:pt x="313045" y="489414"/>
                  </a:cubicBezTo>
                  <a:cubicBezTo>
                    <a:pt x="312284" y="490290"/>
                    <a:pt x="583168" y="491004"/>
                    <a:pt x="915007" y="491004"/>
                  </a:cubicBezTo>
                  <a:cubicBezTo>
                    <a:pt x="1514136" y="491004"/>
                    <a:pt x="1518400" y="491058"/>
                    <a:pt x="1524685" y="498277"/>
                  </a:cubicBezTo>
                  <a:cubicBezTo>
                    <a:pt x="1530965" y="505493"/>
                    <a:pt x="1531014" y="510400"/>
                    <a:pt x="1531014" y="1125610"/>
                  </a:cubicBezTo>
                  <a:cubicBezTo>
                    <a:pt x="1531014" y="1740818"/>
                    <a:pt x="1530965" y="1745733"/>
                    <a:pt x="1524685" y="1752954"/>
                  </a:cubicBezTo>
                  <a:cubicBezTo>
                    <a:pt x="1518474" y="1760093"/>
                    <a:pt x="1514136" y="1760203"/>
                    <a:pt x="1290518" y="1760203"/>
                  </a:cubicBezTo>
                  <a:cubicBezTo>
                    <a:pt x="1066900" y="1760203"/>
                    <a:pt x="1062565" y="1760066"/>
                    <a:pt x="1056351" y="1752954"/>
                  </a:cubicBezTo>
                  <a:cubicBezTo>
                    <a:pt x="1048375" y="1743783"/>
                    <a:pt x="1048265" y="1730787"/>
                    <a:pt x="1056071" y="1719706"/>
                  </a:cubicBezTo>
                  <a:lnTo>
                    <a:pt x="1062120" y="1711120"/>
                  </a:lnTo>
                  <a:lnTo>
                    <a:pt x="1274417" y="1710134"/>
                  </a:lnTo>
                  <a:lnTo>
                    <a:pt x="1486711" y="1709148"/>
                  </a:lnTo>
                  <a:lnTo>
                    <a:pt x="1486711" y="1227363"/>
                  </a:lnTo>
                  <a:lnTo>
                    <a:pt x="1486711" y="745574"/>
                  </a:lnTo>
                  <a:lnTo>
                    <a:pt x="779465" y="745574"/>
                  </a:lnTo>
                  <a:lnTo>
                    <a:pt x="72220" y="745574"/>
                  </a:lnTo>
                  <a:lnTo>
                    <a:pt x="72220" y="1227363"/>
                  </a:lnTo>
                  <a:lnTo>
                    <a:pt x="72220" y="1709151"/>
                  </a:lnTo>
                  <a:lnTo>
                    <a:pt x="282935" y="1710137"/>
                  </a:lnTo>
                  <a:lnTo>
                    <a:pt x="493648" y="1711122"/>
                  </a:lnTo>
                  <a:lnTo>
                    <a:pt x="499697" y="1719708"/>
                  </a:lnTo>
                  <a:cubicBezTo>
                    <a:pt x="507470" y="1730741"/>
                    <a:pt x="507338" y="1738726"/>
                    <a:pt x="499186" y="1750648"/>
                  </a:cubicBezTo>
                  <a:lnTo>
                    <a:pt x="492626" y="1760230"/>
                  </a:lnTo>
                  <a:lnTo>
                    <a:pt x="268534" y="1760230"/>
                  </a:lnTo>
                  <a:cubicBezTo>
                    <a:pt x="59778" y="1760230"/>
                    <a:pt x="43982" y="1759791"/>
                    <a:pt x="37730" y="1753860"/>
                  </a:cubicBezTo>
                  <a:close/>
                  <a:moveTo>
                    <a:pt x="292150" y="621378"/>
                  </a:moveTo>
                  <a:cubicBezTo>
                    <a:pt x="319995" y="581073"/>
                    <a:pt x="343251" y="546707"/>
                    <a:pt x="343833" y="545007"/>
                  </a:cubicBezTo>
                  <a:cubicBezTo>
                    <a:pt x="344413" y="543308"/>
                    <a:pt x="283536" y="541918"/>
                    <a:pt x="208555" y="541918"/>
                  </a:cubicBezTo>
                  <a:lnTo>
                    <a:pt x="72220" y="541918"/>
                  </a:lnTo>
                  <a:lnTo>
                    <a:pt x="72220" y="618289"/>
                  </a:lnTo>
                  <a:lnTo>
                    <a:pt x="72220" y="694660"/>
                  </a:lnTo>
                  <a:lnTo>
                    <a:pt x="156871" y="694660"/>
                  </a:lnTo>
                  <a:lnTo>
                    <a:pt x="241521" y="694660"/>
                  </a:lnTo>
                  <a:close/>
                  <a:moveTo>
                    <a:pt x="596455" y="622833"/>
                  </a:moveTo>
                  <a:cubicBezTo>
                    <a:pt x="623695" y="583330"/>
                    <a:pt x="647356" y="548964"/>
                    <a:pt x="649033" y="546462"/>
                  </a:cubicBezTo>
                  <a:cubicBezTo>
                    <a:pt x="651461" y="542843"/>
                    <a:pt x="626642" y="541918"/>
                    <a:pt x="527300" y="541918"/>
                  </a:cubicBezTo>
                  <a:lnTo>
                    <a:pt x="402516" y="541918"/>
                  </a:lnTo>
                  <a:lnTo>
                    <a:pt x="349778" y="618289"/>
                  </a:lnTo>
                  <a:lnTo>
                    <a:pt x="297043" y="694660"/>
                  </a:lnTo>
                  <a:lnTo>
                    <a:pt x="421983" y="694660"/>
                  </a:lnTo>
                  <a:lnTo>
                    <a:pt x="546924" y="694660"/>
                  </a:lnTo>
                  <a:close/>
                  <a:moveTo>
                    <a:pt x="905447" y="618289"/>
                  </a:moveTo>
                  <a:lnTo>
                    <a:pt x="958143" y="541918"/>
                  </a:lnTo>
                  <a:lnTo>
                    <a:pt x="833194" y="541918"/>
                  </a:lnTo>
                  <a:lnTo>
                    <a:pt x="708246" y="541918"/>
                  </a:lnTo>
                  <a:lnTo>
                    <a:pt x="658740" y="613742"/>
                  </a:lnTo>
                  <a:cubicBezTo>
                    <a:pt x="631513" y="653245"/>
                    <a:pt x="607847" y="687614"/>
                    <a:pt x="606153" y="690113"/>
                  </a:cubicBezTo>
                  <a:cubicBezTo>
                    <a:pt x="603695" y="693731"/>
                    <a:pt x="628498" y="694660"/>
                    <a:pt x="727905" y="694660"/>
                  </a:cubicBezTo>
                  <a:lnTo>
                    <a:pt x="852747" y="694660"/>
                  </a:lnTo>
                  <a:close/>
                  <a:moveTo>
                    <a:pt x="1206662" y="625233"/>
                  </a:moveTo>
                  <a:cubicBezTo>
                    <a:pt x="1232769" y="587240"/>
                    <a:pt x="1256081" y="552948"/>
                    <a:pt x="1258470" y="549035"/>
                  </a:cubicBezTo>
                  <a:cubicBezTo>
                    <a:pt x="1262756" y="542006"/>
                    <a:pt x="1261270" y="541918"/>
                    <a:pt x="1138222" y="541918"/>
                  </a:cubicBezTo>
                  <a:lnTo>
                    <a:pt x="1013632" y="541918"/>
                  </a:lnTo>
                  <a:lnTo>
                    <a:pt x="963001" y="615288"/>
                  </a:lnTo>
                  <a:cubicBezTo>
                    <a:pt x="935156" y="655642"/>
                    <a:pt x="911896" y="690008"/>
                    <a:pt x="911317" y="691659"/>
                  </a:cubicBezTo>
                  <a:cubicBezTo>
                    <a:pt x="910738" y="693309"/>
                    <a:pt x="966271" y="694583"/>
                    <a:pt x="1034728" y="694487"/>
                  </a:cubicBezTo>
                  <a:lnTo>
                    <a:pt x="1159196" y="694322"/>
                  </a:lnTo>
                  <a:lnTo>
                    <a:pt x="1206662" y="625241"/>
                  </a:lnTo>
                  <a:close/>
                  <a:moveTo>
                    <a:pt x="1486711" y="618289"/>
                  </a:moveTo>
                  <a:lnTo>
                    <a:pt x="1486711" y="541918"/>
                  </a:lnTo>
                  <a:lnTo>
                    <a:pt x="1403100" y="541918"/>
                  </a:lnTo>
                  <a:lnTo>
                    <a:pt x="1319489" y="541918"/>
                  </a:lnTo>
                  <a:lnTo>
                    <a:pt x="1271254" y="611924"/>
                  </a:lnTo>
                  <a:cubicBezTo>
                    <a:pt x="1244724" y="650428"/>
                    <a:pt x="1220897" y="684794"/>
                    <a:pt x="1218304" y="688295"/>
                  </a:cubicBezTo>
                  <a:cubicBezTo>
                    <a:pt x="1213826" y="694341"/>
                    <a:pt x="1220408" y="694660"/>
                    <a:pt x="1350151" y="694660"/>
                  </a:cubicBezTo>
                  <a:lnTo>
                    <a:pt x="1486711" y="694660"/>
                  </a:lnTo>
                  <a:close/>
                  <a:moveTo>
                    <a:pt x="285027" y="443213"/>
                  </a:moveTo>
                  <a:cubicBezTo>
                    <a:pt x="328103" y="434616"/>
                    <a:pt x="363345" y="426599"/>
                    <a:pt x="363345" y="425391"/>
                  </a:cubicBezTo>
                  <a:cubicBezTo>
                    <a:pt x="363345" y="424185"/>
                    <a:pt x="336881" y="393996"/>
                    <a:pt x="304533" y="358306"/>
                  </a:cubicBezTo>
                  <a:lnTo>
                    <a:pt x="245722" y="293415"/>
                  </a:lnTo>
                  <a:lnTo>
                    <a:pt x="147105" y="312842"/>
                  </a:lnTo>
                  <a:cubicBezTo>
                    <a:pt x="92865" y="323526"/>
                    <a:pt x="47955" y="332727"/>
                    <a:pt x="47307" y="333287"/>
                  </a:cubicBezTo>
                  <a:cubicBezTo>
                    <a:pt x="46275" y="334179"/>
                    <a:pt x="63949" y="458480"/>
                    <a:pt x="67975" y="478623"/>
                  </a:cubicBezTo>
                  <a:cubicBezTo>
                    <a:pt x="69493" y="486220"/>
                    <a:pt x="69702" y="486201"/>
                    <a:pt x="138101" y="472541"/>
                  </a:cubicBezTo>
                  <a:cubicBezTo>
                    <a:pt x="175836" y="465007"/>
                    <a:pt x="241952" y="451808"/>
                    <a:pt x="285027" y="443213"/>
                  </a:cubicBezTo>
                  <a:close/>
                  <a:moveTo>
                    <a:pt x="546355" y="390670"/>
                  </a:moveTo>
                  <a:cubicBezTo>
                    <a:pt x="611911" y="377494"/>
                    <a:pt x="665903" y="366310"/>
                    <a:pt x="666340" y="365819"/>
                  </a:cubicBezTo>
                  <a:cubicBezTo>
                    <a:pt x="666776" y="365327"/>
                    <a:pt x="640156" y="335146"/>
                    <a:pt x="607188" y="298742"/>
                  </a:cubicBezTo>
                  <a:lnTo>
                    <a:pt x="547242" y="232558"/>
                  </a:lnTo>
                  <a:lnTo>
                    <a:pt x="425094" y="257226"/>
                  </a:lnTo>
                  <a:cubicBezTo>
                    <a:pt x="357911" y="270793"/>
                    <a:pt x="302650" y="282916"/>
                    <a:pt x="302293" y="284165"/>
                  </a:cubicBezTo>
                  <a:cubicBezTo>
                    <a:pt x="301225" y="287883"/>
                    <a:pt x="418353" y="414465"/>
                    <a:pt x="422942" y="414550"/>
                  </a:cubicBezTo>
                  <a:cubicBezTo>
                    <a:pt x="425264" y="414605"/>
                    <a:pt x="480798" y="403850"/>
                    <a:pt x="546355" y="390670"/>
                  </a:cubicBezTo>
                  <a:close/>
                  <a:moveTo>
                    <a:pt x="844337" y="330989"/>
                  </a:moveTo>
                  <a:cubicBezTo>
                    <a:pt x="906122" y="318814"/>
                    <a:pt x="959250" y="307669"/>
                    <a:pt x="962396" y="306224"/>
                  </a:cubicBezTo>
                  <a:cubicBezTo>
                    <a:pt x="967078" y="304075"/>
                    <a:pt x="957479" y="291853"/>
                    <a:pt x="909670" y="239102"/>
                  </a:cubicBezTo>
                  <a:cubicBezTo>
                    <a:pt x="867939" y="193061"/>
                    <a:pt x="849101" y="174612"/>
                    <a:pt x="843821" y="174617"/>
                  </a:cubicBezTo>
                  <a:cubicBezTo>
                    <a:pt x="836135" y="174623"/>
                    <a:pt x="603580" y="220886"/>
                    <a:pt x="602193" y="222685"/>
                  </a:cubicBezTo>
                  <a:cubicBezTo>
                    <a:pt x="601759" y="223245"/>
                    <a:pt x="628652" y="253514"/>
                    <a:pt x="661955" y="289950"/>
                  </a:cubicBezTo>
                  <a:cubicBezTo>
                    <a:pt x="698858" y="330319"/>
                    <a:pt x="724361" y="355593"/>
                    <a:pt x="727255" y="354660"/>
                  </a:cubicBezTo>
                  <a:cubicBezTo>
                    <a:pt x="729863" y="353817"/>
                    <a:pt x="782552" y="343166"/>
                    <a:pt x="844337" y="330989"/>
                  </a:cubicBezTo>
                  <a:close/>
                  <a:moveTo>
                    <a:pt x="1153658" y="268684"/>
                  </a:moveTo>
                  <a:cubicBezTo>
                    <a:pt x="1216748" y="256084"/>
                    <a:pt x="1268368" y="244821"/>
                    <a:pt x="1268368" y="243654"/>
                  </a:cubicBezTo>
                  <a:cubicBezTo>
                    <a:pt x="1268368" y="241383"/>
                    <a:pt x="1174408" y="137558"/>
                    <a:pt x="1157939" y="121635"/>
                  </a:cubicBezTo>
                  <a:lnTo>
                    <a:pt x="1148065" y="112085"/>
                  </a:lnTo>
                  <a:lnTo>
                    <a:pt x="1027054" y="136391"/>
                  </a:lnTo>
                  <a:cubicBezTo>
                    <a:pt x="960499" y="149760"/>
                    <a:pt x="905540" y="161267"/>
                    <a:pt x="904922" y="161967"/>
                  </a:cubicBezTo>
                  <a:cubicBezTo>
                    <a:pt x="904307" y="162668"/>
                    <a:pt x="921397" y="182607"/>
                    <a:pt x="942896" y="206276"/>
                  </a:cubicBezTo>
                  <a:cubicBezTo>
                    <a:pt x="964398" y="229944"/>
                    <a:pt x="991244" y="259547"/>
                    <a:pt x="1002556" y="272056"/>
                  </a:cubicBezTo>
                  <a:cubicBezTo>
                    <a:pt x="1019006" y="290250"/>
                    <a:pt x="1024709" y="294484"/>
                    <a:pt x="1031038" y="293199"/>
                  </a:cubicBezTo>
                  <a:cubicBezTo>
                    <a:pt x="1035387" y="292314"/>
                    <a:pt x="1090566" y="281285"/>
                    <a:pt x="1153658" y="268684"/>
                  </a:cubicBezTo>
                  <a:close/>
                  <a:moveTo>
                    <a:pt x="1395546" y="220126"/>
                  </a:moveTo>
                  <a:cubicBezTo>
                    <a:pt x="1430549" y="213157"/>
                    <a:pt x="1459847" y="206696"/>
                    <a:pt x="1460651" y="205771"/>
                  </a:cubicBezTo>
                  <a:cubicBezTo>
                    <a:pt x="1462364" y="203805"/>
                    <a:pt x="1440882" y="58900"/>
                    <a:pt x="1438465" y="56127"/>
                  </a:cubicBezTo>
                  <a:cubicBezTo>
                    <a:pt x="1436532" y="53902"/>
                    <a:pt x="1210844" y="98290"/>
                    <a:pt x="1207580" y="101536"/>
                  </a:cubicBezTo>
                  <a:cubicBezTo>
                    <a:pt x="1204716" y="104381"/>
                    <a:pt x="1322350" y="232778"/>
                    <a:pt x="1327828" y="232789"/>
                  </a:cubicBezTo>
                  <a:cubicBezTo>
                    <a:pt x="1330071" y="232795"/>
                    <a:pt x="1360546" y="227094"/>
                    <a:pt x="1395546" y="220126"/>
                  </a:cubicBezTo>
                  <a:close/>
                  <a:moveTo>
                    <a:pt x="623531" y="1754547"/>
                  </a:moveTo>
                  <a:cubicBezTo>
                    <a:pt x="618737" y="1750703"/>
                    <a:pt x="616515" y="1745211"/>
                    <a:pt x="616548" y="1737279"/>
                  </a:cubicBezTo>
                  <a:cubicBezTo>
                    <a:pt x="616644" y="1713931"/>
                    <a:pt x="625436" y="1709302"/>
                    <a:pt x="669660" y="1709302"/>
                  </a:cubicBezTo>
                  <a:cubicBezTo>
                    <a:pt x="699860" y="1709302"/>
                    <a:pt x="705308" y="1710258"/>
                    <a:pt x="712587" y="1716839"/>
                  </a:cubicBezTo>
                  <a:cubicBezTo>
                    <a:pt x="722787" y="1726059"/>
                    <a:pt x="723702" y="1742465"/>
                    <a:pt x="714597" y="1752954"/>
                  </a:cubicBezTo>
                  <a:cubicBezTo>
                    <a:pt x="708954" y="1759434"/>
                    <a:pt x="704047" y="1760203"/>
                    <a:pt x="669415" y="1760203"/>
                  </a:cubicBezTo>
                  <a:cubicBezTo>
                    <a:pt x="639374" y="1760203"/>
                    <a:pt x="628970" y="1758940"/>
                    <a:pt x="623531" y="1754547"/>
                  </a:cubicBezTo>
                  <a:close/>
                  <a:moveTo>
                    <a:pt x="838131" y="1752268"/>
                  </a:moveTo>
                  <a:cubicBezTo>
                    <a:pt x="830053" y="1742301"/>
                    <a:pt x="829908" y="1730807"/>
                    <a:pt x="837722" y="1719706"/>
                  </a:cubicBezTo>
                  <a:cubicBezTo>
                    <a:pt x="843384" y="1711658"/>
                    <a:pt x="846209" y="1711046"/>
                    <a:pt x="882871" y="1709931"/>
                  </a:cubicBezTo>
                  <a:cubicBezTo>
                    <a:pt x="918950" y="1708835"/>
                    <a:pt x="922646" y="1709349"/>
                    <a:pt x="930622" y="1716559"/>
                  </a:cubicBezTo>
                  <a:cubicBezTo>
                    <a:pt x="941133" y="1726059"/>
                    <a:pt x="942168" y="1742328"/>
                    <a:pt x="932940" y="1752954"/>
                  </a:cubicBezTo>
                  <a:cubicBezTo>
                    <a:pt x="927262" y="1759462"/>
                    <a:pt x="922393" y="1760203"/>
                    <a:pt x="885597" y="1760203"/>
                  </a:cubicBezTo>
                  <a:cubicBezTo>
                    <a:pt x="847481" y="1760203"/>
                    <a:pt x="844128" y="1759654"/>
                    <a:pt x="838131" y="1752268"/>
                  </a:cubicBezTo>
                  <a:close/>
                  <a:moveTo>
                    <a:pt x="675730" y="1456999"/>
                  </a:moveTo>
                  <a:cubicBezTo>
                    <a:pt x="645958" y="1444242"/>
                    <a:pt x="625832" y="1417968"/>
                    <a:pt x="619662" y="1383802"/>
                  </a:cubicBezTo>
                  <a:cubicBezTo>
                    <a:pt x="617347" y="1370993"/>
                    <a:pt x="616490" y="1314365"/>
                    <a:pt x="617125" y="1215946"/>
                  </a:cubicBezTo>
                  <a:cubicBezTo>
                    <a:pt x="618187" y="1051090"/>
                    <a:pt x="617756" y="1054670"/>
                    <a:pt x="639950" y="1026436"/>
                  </a:cubicBezTo>
                  <a:cubicBezTo>
                    <a:pt x="656741" y="1005076"/>
                    <a:pt x="678553" y="995455"/>
                    <a:pt x="706502" y="997078"/>
                  </a:cubicBezTo>
                  <a:lnTo>
                    <a:pt x="728982" y="998382"/>
                  </a:lnTo>
                  <a:lnTo>
                    <a:pt x="835874" y="1070711"/>
                  </a:lnTo>
                  <a:cubicBezTo>
                    <a:pt x="894664" y="1110492"/>
                    <a:pt x="948291" y="1147642"/>
                    <a:pt x="955046" y="1153263"/>
                  </a:cubicBezTo>
                  <a:cubicBezTo>
                    <a:pt x="993844" y="1185564"/>
                    <a:pt x="997331" y="1256770"/>
                    <a:pt x="962015" y="1295600"/>
                  </a:cubicBezTo>
                  <a:cubicBezTo>
                    <a:pt x="951902" y="1306721"/>
                    <a:pt x="776225" y="1428015"/>
                    <a:pt x="736975" y="1450978"/>
                  </a:cubicBezTo>
                  <a:cubicBezTo>
                    <a:pt x="719536" y="1461181"/>
                    <a:pt x="691843" y="1463905"/>
                    <a:pt x="675730" y="1456999"/>
                  </a:cubicBezTo>
                  <a:close/>
                  <a:moveTo>
                    <a:pt x="822187" y="1336891"/>
                  </a:moveTo>
                  <a:cubicBezTo>
                    <a:pt x="880490" y="1297531"/>
                    <a:pt x="931268" y="1261053"/>
                    <a:pt x="935024" y="1255831"/>
                  </a:cubicBezTo>
                  <a:cubicBezTo>
                    <a:pt x="947767" y="1238115"/>
                    <a:pt x="945875" y="1212233"/>
                    <a:pt x="930650" y="1195943"/>
                  </a:cubicBezTo>
                  <a:cubicBezTo>
                    <a:pt x="916531" y="1180838"/>
                    <a:pt x="716104" y="1047229"/>
                    <a:pt x="704547" y="1045219"/>
                  </a:cubicBezTo>
                  <a:cubicBezTo>
                    <a:pt x="690665" y="1042806"/>
                    <a:pt x="674080" y="1053397"/>
                    <a:pt x="666584" y="1069465"/>
                  </a:cubicBezTo>
                  <a:cubicBezTo>
                    <a:pt x="661257" y="1080876"/>
                    <a:pt x="660802" y="1093419"/>
                    <a:pt x="660802" y="1228469"/>
                  </a:cubicBezTo>
                  <a:cubicBezTo>
                    <a:pt x="660802" y="1390302"/>
                    <a:pt x="660738" y="1389747"/>
                    <a:pt x="680733" y="1404176"/>
                  </a:cubicBezTo>
                  <a:cubicBezTo>
                    <a:pt x="699868" y="1417990"/>
                    <a:pt x="707287" y="1414459"/>
                    <a:pt x="822187" y="1336891"/>
                  </a:cubicBezTo>
                  <a:close/>
                </a:path>
              </a:pathLst>
            </a:custGeom>
            <a:solidFill>
              <a:schemeClr val="bg1"/>
            </a:solidFill>
            <a:ln w="33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latin typeface="IBM Plex Sans Light" panose="020B0403050203000203" pitchFamily="34" charset="0"/>
              </a:endParaRPr>
            </a:p>
          </p:txBody>
        </p:sp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7931567-9185-4154-9F28-15BEAC905040}"/>
              </a:ext>
            </a:extLst>
          </p:cNvPr>
          <p:cNvSpPr/>
          <p:nvPr/>
        </p:nvSpPr>
        <p:spPr>
          <a:xfrm flipH="1">
            <a:off x="898376" y="4461930"/>
            <a:ext cx="8593603" cy="844289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0" tIns="37148" rIns="7312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975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042488E-2C34-41F2-B76B-CD37C5308A9A}"/>
              </a:ext>
            </a:extLst>
          </p:cNvPr>
          <p:cNvSpPr/>
          <p:nvPr/>
        </p:nvSpPr>
        <p:spPr>
          <a:xfrm flipH="1">
            <a:off x="418020" y="4461930"/>
            <a:ext cx="5184648" cy="844289"/>
          </a:xfrm>
          <a:prstGeom prst="roundRect">
            <a:avLst>
              <a:gd name="adj" fmla="val 50000"/>
            </a:avLst>
          </a:prstGeom>
          <a:solidFill>
            <a:srgbClr val="7DD8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5798BE8-388B-4D4E-8106-12A70E925F87}"/>
              </a:ext>
            </a:extLst>
          </p:cNvPr>
          <p:cNvSpPr txBox="1"/>
          <p:nvPr/>
        </p:nvSpPr>
        <p:spPr>
          <a:xfrm>
            <a:off x="2368003" y="4658093"/>
            <a:ext cx="1284682" cy="513873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Light" panose="020B0403050203000203" pitchFamily="34" charset="0"/>
              </a:rPr>
              <a:t>Intern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11A081-EBB9-4087-A6B0-7E94F60EA080}"/>
              </a:ext>
            </a:extLst>
          </p:cNvPr>
          <p:cNvSpPr txBox="1"/>
          <p:nvPr/>
        </p:nvSpPr>
        <p:spPr>
          <a:xfrm>
            <a:off x="6560206" y="4536713"/>
            <a:ext cx="2826299" cy="685163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algn="r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</a:rPr>
              <a:t>The Internet is one of the newest sources of media.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C18DDBC-3F44-41A0-8D81-2F9CCB5F7110}"/>
              </a:ext>
            </a:extLst>
          </p:cNvPr>
          <p:cNvSpPr/>
          <p:nvPr/>
        </p:nvSpPr>
        <p:spPr>
          <a:xfrm flipH="1">
            <a:off x="4820531" y="4530388"/>
            <a:ext cx="685163" cy="685163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DA1586CF-2EEC-45EC-83D5-2158CD823AED}"/>
              </a:ext>
            </a:extLst>
          </p:cNvPr>
          <p:cNvSpPr/>
          <p:nvPr/>
        </p:nvSpPr>
        <p:spPr>
          <a:xfrm>
            <a:off x="4971088" y="4682646"/>
            <a:ext cx="384048" cy="380646"/>
          </a:xfrm>
          <a:custGeom>
            <a:avLst/>
            <a:gdLst>
              <a:gd name="connsiteX0" fmla="*/ 61849 w 1674165"/>
              <a:gd name="connsiteY0" fmla="*/ 1606016 h 1608746"/>
              <a:gd name="connsiteX1" fmla="*/ 4605 w 1674165"/>
              <a:gd name="connsiteY1" fmla="*/ 1551238 h 1608746"/>
              <a:gd name="connsiteX2" fmla="*/ 385 w 1674165"/>
              <a:gd name="connsiteY2" fmla="*/ 1408898 h 1608746"/>
              <a:gd name="connsiteX3" fmla="*/ 8419 w 1674165"/>
              <a:gd name="connsiteY3" fmla="*/ 1271088 h 1608746"/>
              <a:gd name="connsiteX4" fmla="*/ 52055 w 1674165"/>
              <a:gd name="connsiteY4" fmla="*/ 1232043 h 1608746"/>
              <a:gd name="connsiteX5" fmla="*/ 230367 w 1674165"/>
              <a:gd name="connsiteY5" fmla="*/ 1225480 h 1608746"/>
              <a:gd name="connsiteX6" fmla="*/ 393954 w 1674165"/>
              <a:gd name="connsiteY6" fmla="*/ 1225316 h 1608746"/>
              <a:gd name="connsiteX7" fmla="*/ 380868 w 1674165"/>
              <a:gd name="connsiteY7" fmla="*/ 1215321 h 1608746"/>
              <a:gd name="connsiteX8" fmla="*/ 278877 w 1674165"/>
              <a:gd name="connsiteY8" fmla="*/ 1117105 h 1608746"/>
              <a:gd name="connsiteX9" fmla="*/ 142157 w 1674165"/>
              <a:gd name="connsiteY9" fmla="*/ 511307 h 1608746"/>
              <a:gd name="connsiteX10" fmla="*/ 498214 w 1674165"/>
              <a:gd name="connsiteY10" fmla="*/ 79783 h 1608746"/>
              <a:gd name="connsiteX11" fmla="*/ 1060689 w 1674165"/>
              <a:gd name="connsiteY11" fmla="*/ 36454 h 1608746"/>
              <a:gd name="connsiteX12" fmla="*/ 1195152 w 1674165"/>
              <a:gd name="connsiteY12" fmla="*/ 100706 h 1608746"/>
              <a:gd name="connsiteX13" fmla="*/ 1183743 w 1674165"/>
              <a:gd name="connsiteY13" fmla="*/ 130387 h 1608746"/>
              <a:gd name="connsiteX14" fmla="*/ 1125717 w 1674165"/>
              <a:gd name="connsiteY14" fmla="*/ 113418 h 1608746"/>
              <a:gd name="connsiteX15" fmla="*/ 1003311 w 1674165"/>
              <a:gd name="connsiteY15" fmla="*/ 68827 h 1608746"/>
              <a:gd name="connsiteX16" fmla="*/ 970452 w 1674165"/>
              <a:gd name="connsiteY16" fmla="*/ 60645 h 1608746"/>
              <a:gd name="connsiteX17" fmla="*/ 985779 w 1674165"/>
              <a:gd name="connsiteY17" fmla="*/ 84204 h 1608746"/>
              <a:gd name="connsiteX18" fmla="*/ 1118592 w 1674165"/>
              <a:gd name="connsiteY18" fmla="*/ 389505 h 1608746"/>
              <a:gd name="connsiteX19" fmla="*/ 1127060 w 1674165"/>
              <a:gd name="connsiteY19" fmla="*/ 429565 h 1608746"/>
              <a:gd name="connsiteX20" fmla="*/ 1128587 w 1674165"/>
              <a:gd name="connsiteY20" fmla="*/ 436650 h 1608746"/>
              <a:gd name="connsiteX21" fmla="*/ 1285567 w 1674165"/>
              <a:gd name="connsiteY21" fmla="*/ 436650 h 1608746"/>
              <a:gd name="connsiteX22" fmla="*/ 1442546 w 1674165"/>
              <a:gd name="connsiteY22" fmla="*/ 434289 h 1608746"/>
              <a:gd name="connsiteX23" fmla="*/ 1388347 w 1674165"/>
              <a:gd name="connsiteY23" fmla="*/ 336786 h 1608746"/>
              <a:gd name="connsiteX24" fmla="*/ 1301218 w 1674165"/>
              <a:gd name="connsiteY24" fmla="*/ 233463 h 1608746"/>
              <a:gd name="connsiteX25" fmla="*/ 1269148 w 1674165"/>
              <a:gd name="connsiteY25" fmla="*/ 195654 h 1608746"/>
              <a:gd name="connsiteX26" fmla="*/ 1287654 w 1674165"/>
              <a:gd name="connsiteY26" fmla="*/ 172452 h 1608746"/>
              <a:gd name="connsiteX27" fmla="*/ 1345738 w 1674165"/>
              <a:gd name="connsiteY27" fmla="*/ 210536 h 1608746"/>
              <a:gd name="connsiteX28" fmla="*/ 1442397 w 1674165"/>
              <a:gd name="connsiteY28" fmla="*/ 1038769 h 1608746"/>
              <a:gd name="connsiteX29" fmla="*/ 1425376 w 1674165"/>
              <a:gd name="connsiteY29" fmla="*/ 1065842 h 1608746"/>
              <a:gd name="connsiteX30" fmla="*/ 1443350 w 1674165"/>
              <a:gd name="connsiteY30" fmla="*/ 1083607 h 1608746"/>
              <a:gd name="connsiteX31" fmla="*/ 1670702 w 1674165"/>
              <a:gd name="connsiteY31" fmla="*/ 1316557 h 1608746"/>
              <a:gd name="connsiteX32" fmla="*/ 1643483 w 1674165"/>
              <a:gd name="connsiteY32" fmla="*/ 1379655 h 1608746"/>
              <a:gd name="connsiteX33" fmla="*/ 1628728 w 1674165"/>
              <a:gd name="connsiteY33" fmla="*/ 1386519 h 1608746"/>
              <a:gd name="connsiteX34" fmla="*/ 1543084 w 1674165"/>
              <a:gd name="connsiteY34" fmla="*/ 1373779 h 1608746"/>
              <a:gd name="connsiteX35" fmla="*/ 1455720 w 1674165"/>
              <a:gd name="connsiteY35" fmla="*/ 1363400 h 1608746"/>
              <a:gd name="connsiteX36" fmla="*/ 1404360 w 1674165"/>
              <a:gd name="connsiteY36" fmla="*/ 1428777 h 1608746"/>
              <a:gd name="connsiteX37" fmla="*/ 1321216 w 1674165"/>
              <a:gd name="connsiteY37" fmla="*/ 1502116 h 1608746"/>
              <a:gd name="connsiteX38" fmla="*/ 1275814 w 1674165"/>
              <a:gd name="connsiteY38" fmla="*/ 1478722 h 1608746"/>
              <a:gd name="connsiteX39" fmla="*/ 1269137 w 1674165"/>
              <a:gd name="connsiteY39" fmla="*/ 1412165 h 1608746"/>
              <a:gd name="connsiteX40" fmla="*/ 1266992 w 1674165"/>
              <a:gd name="connsiteY40" fmla="*/ 1292642 h 1608746"/>
              <a:gd name="connsiteX41" fmla="*/ 1264856 w 1674165"/>
              <a:gd name="connsiteY41" fmla="*/ 1229352 h 1608746"/>
              <a:gd name="connsiteX42" fmla="*/ 1235100 w 1674165"/>
              <a:gd name="connsiteY42" fmla="*/ 1249012 h 1608746"/>
              <a:gd name="connsiteX43" fmla="*/ 1117148 w 1674165"/>
              <a:gd name="connsiteY43" fmla="*/ 1312274 h 1608746"/>
              <a:gd name="connsiteX44" fmla="*/ 1084292 w 1674165"/>
              <a:gd name="connsiteY44" fmla="*/ 1325866 h 1608746"/>
              <a:gd name="connsiteX45" fmla="*/ 1082655 w 1674165"/>
              <a:gd name="connsiteY45" fmla="*/ 1436767 h 1608746"/>
              <a:gd name="connsiteX46" fmla="*/ 1075127 w 1674165"/>
              <a:gd name="connsiteY46" fmla="*/ 1560244 h 1608746"/>
              <a:gd name="connsiteX47" fmla="*/ 1035214 w 1674165"/>
              <a:gd name="connsiteY47" fmla="*/ 1600607 h 1608746"/>
              <a:gd name="connsiteX48" fmla="*/ 1022128 w 1674165"/>
              <a:gd name="connsiteY48" fmla="*/ 1607389 h 1608746"/>
              <a:gd name="connsiteX49" fmla="*/ 664141 w 1674165"/>
              <a:gd name="connsiteY49" fmla="*/ 1608240 h 1608746"/>
              <a:gd name="connsiteX50" fmla="*/ 306156 w 1674165"/>
              <a:gd name="connsiteY50" fmla="*/ 1609064 h 1608746"/>
              <a:gd name="connsiteX51" fmla="*/ 298523 w 1674165"/>
              <a:gd name="connsiteY51" fmla="*/ 1602172 h 1608746"/>
              <a:gd name="connsiteX52" fmla="*/ 298413 w 1674165"/>
              <a:gd name="connsiteY52" fmla="*/ 1568701 h 1608746"/>
              <a:gd name="connsiteX53" fmla="*/ 305939 w 1674165"/>
              <a:gd name="connsiteY53" fmla="*/ 1561891 h 1608746"/>
              <a:gd name="connsiteX54" fmla="*/ 659868 w 1674165"/>
              <a:gd name="connsiteY54" fmla="*/ 1561068 h 1608746"/>
              <a:gd name="connsiteX55" fmla="*/ 1013797 w 1674165"/>
              <a:gd name="connsiteY55" fmla="*/ 1560244 h 1608746"/>
              <a:gd name="connsiteX56" fmla="*/ 1022869 w 1674165"/>
              <a:gd name="connsiteY56" fmla="*/ 1551540 h 1608746"/>
              <a:gd name="connsiteX57" fmla="*/ 1031938 w 1674165"/>
              <a:gd name="connsiteY57" fmla="*/ 1542808 h 1608746"/>
              <a:gd name="connsiteX58" fmla="*/ 1031938 w 1674165"/>
              <a:gd name="connsiteY58" fmla="*/ 1416915 h 1608746"/>
              <a:gd name="connsiteX59" fmla="*/ 1031938 w 1674165"/>
              <a:gd name="connsiteY59" fmla="*/ 1291022 h 1608746"/>
              <a:gd name="connsiteX60" fmla="*/ 1021255 w 1674165"/>
              <a:gd name="connsiteY60" fmla="*/ 1281851 h 1608746"/>
              <a:gd name="connsiteX61" fmla="*/ 1010571 w 1674165"/>
              <a:gd name="connsiteY61" fmla="*/ 1272680 h 1608746"/>
              <a:gd name="connsiteX62" fmla="*/ 541182 w 1674165"/>
              <a:gd name="connsiteY62" fmla="*/ 1272680 h 1608746"/>
              <a:gd name="connsiteX63" fmla="*/ 71788 w 1674165"/>
              <a:gd name="connsiteY63" fmla="*/ 1272680 h 1608746"/>
              <a:gd name="connsiteX64" fmla="*/ 61105 w 1674165"/>
              <a:gd name="connsiteY64" fmla="*/ 1281851 h 1608746"/>
              <a:gd name="connsiteX65" fmla="*/ 50421 w 1674165"/>
              <a:gd name="connsiteY65" fmla="*/ 1291022 h 1608746"/>
              <a:gd name="connsiteX66" fmla="*/ 50421 w 1674165"/>
              <a:gd name="connsiteY66" fmla="*/ 1416915 h 1608746"/>
              <a:gd name="connsiteX67" fmla="*/ 50421 w 1674165"/>
              <a:gd name="connsiteY67" fmla="*/ 1542808 h 1608746"/>
              <a:gd name="connsiteX68" fmla="*/ 59482 w 1674165"/>
              <a:gd name="connsiteY68" fmla="*/ 1551540 h 1608746"/>
              <a:gd name="connsiteX69" fmla="*/ 68546 w 1674165"/>
              <a:gd name="connsiteY69" fmla="*/ 1560244 h 1608746"/>
              <a:gd name="connsiteX70" fmla="*/ 132552 w 1674165"/>
              <a:gd name="connsiteY70" fmla="*/ 1561809 h 1608746"/>
              <a:gd name="connsiteX71" fmla="*/ 201194 w 1674165"/>
              <a:gd name="connsiteY71" fmla="*/ 1569497 h 1608746"/>
              <a:gd name="connsiteX72" fmla="*/ 199285 w 1674165"/>
              <a:gd name="connsiteY72" fmla="*/ 1602666 h 1608746"/>
              <a:gd name="connsiteX73" fmla="*/ 131396 w 1674165"/>
              <a:gd name="connsiteY73" fmla="*/ 1608707 h 1608746"/>
              <a:gd name="connsiteX74" fmla="*/ 61849 w 1674165"/>
              <a:gd name="connsiteY74" fmla="*/ 1606016 h 1608746"/>
              <a:gd name="connsiteX75" fmla="*/ 1373748 w 1674165"/>
              <a:gd name="connsiteY75" fmla="*/ 1390116 h 1608746"/>
              <a:gd name="connsiteX76" fmla="*/ 1432639 w 1674165"/>
              <a:gd name="connsiteY76" fmla="*/ 1321527 h 1608746"/>
              <a:gd name="connsiteX77" fmla="*/ 1540915 w 1674165"/>
              <a:gd name="connsiteY77" fmla="*/ 1326113 h 1608746"/>
              <a:gd name="connsiteX78" fmla="*/ 1625273 w 1674165"/>
              <a:gd name="connsiteY78" fmla="*/ 1337041 h 1608746"/>
              <a:gd name="connsiteX79" fmla="*/ 1613818 w 1674165"/>
              <a:gd name="connsiteY79" fmla="*/ 1322104 h 1608746"/>
              <a:gd name="connsiteX80" fmla="*/ 1319217 w 1674165"/>
              <a:gd name="connsiteY80" fmla="*/ 1031217 h 1608746"/>
              <a:gd name="connsiteX81" fmla="*/ 1314997 w 1674165"/>
              <a:gd name="connsiteY81" fmla="*/ 1235502 h 1608746"/>
              <a:gd name="connsiteX82" fmla="*/ 1321059 w 1674165"/>
              <a:gd name="connsiteY82" fmla="*/ 1454807 h 1608746"/>
              <a:gd name="connsiteX83" fmla="*/ 1373748 w 1674165"/>
              <a:gd name="connsiteY83" fmla="*/ 1390116 h 1608746"/>
              <a:gd name="connsiteX84" fmla="*/ 1127013 w 1674165"/>
              <a:gd name="connsiteY84" fmla="*/ 1255656 h 1608746"/>
              <a:gd name="connsiteX85" fmla="*/ 1245427 w 1674165"/>
              <a:gd name="connsiteY85" fmla="*/ 1184019 h 1608746"/>
              <a:gd name="connsiteX86" fmla="*/ 1265875 w 1674165"/>
              <a:gd name="connsiteY86" fmla="*/ 1168396 h 1608746"/>
              <a:gd name="connsiteX87" fmla="*/ 1265875 w 1674165"/>
              <a:gd name="connsiteY87" fmla="*/ 1097061 h 1608746"/>
              <a:gd name="connsiteX88" fmla="*/ 1273236 w 1674165"/>
              <a:gd name="connsiteY88" fmla="*/ 1011860 h 1608746"/>
              <a:gd name="connsiteX89" fmla="*/ 1314247 w 1674165"/>
              <a:gd name="connsiteY89" fmla="*/ 984292 h 1608746"/>
              <a:gd name="connsiteX90" fmla="*/ 1372086 w 1674165"/>
              <a:gd name="connsiteY90" fmla="*/ 1012492 h 1608746"/>
              <a:gd name="connsiteX91" fmla="*/ 1389739 w 1674165"/>
              <a:gd name="connsiteY91" fmla="*/ 1031245 h 1608746"/>
              <a:gd name="connsiteX92" fmla="*/ 1398795 w 1674165"/>
              <a:gd name="connsiteY92" fmla="*/ 1017571 h 1608746"/>
              <a:gd name="connsiteX93" fmla="*/ 1442551 w 1674165"/>
              <a:gd name="connsiteY93" fmla="*/ 935912 h 1608746"/>
              <a:gd name="connsiteX94" fmla="*/ 1285567 w 1674165"/>
              <a:gd name="connsiteY94" fmla="*/ 933221 h 1608746"/>
              <a:gd name="connsiteX95" fmla="*/ 1128587 w 1674165"/>
              <a:gd name="connsiteY95" fmla="*/ 933221 h 1608746"/>
              <a:gd name="connsiteX96" fmla="*/ 1126914 w 1674165"/>
              <a:gd name="connsiteY96" fmla="*/ 940305 h 1608746"/>
              <a:gd name="connsiteX97" fmla="*/ 1120135 w 1674165"/>
              <a:gd name="connsiteY97" fmla="*/ 972513 h 1608746"/>
              <a:gd name="connsiteX98" fmla="*/ 1035145 w 1674165"/>
              <a:gd name="connsiteY98" fmla="*/ 1213591 h 1608746"/>
              <a:gd name="connsiteX99" fmla="*/ 1033945 w 1674165"/>
              <a:gd name="connsiteY99" fmla="*/ 1233470 h 1608746"/>
              <a:gd name="connsiteX100" fmla="*/ 1071505 w 1674165"/>
              <a:gd name="connsiteY100" fmla="*/ 1266914 h 1608746"/>
              <a:gd name="connsiteX101" fmla="*/ 1080475 w 1674165"/>
              <a:gd name="connsiteY101" fmla="*/ 1275810 h 1608746"/>
              <a:gd name="connsiteX102" fmla="*/ 1127013 w 1674165"/>
              <a:gd name="connsiteY102" fmla="*/ 1255656 h 1608746"/>
              <a:gd name="connsiteX103" fmla="*/ 621784 w 1674165"/>
              <a:gd name="connsiteY103" fmla="*/ 1201153 h 1608746"/>
              <a:gd name="connsiteX104" fmla="*/ 539474 w 1674165"/>
              <a:gd name="connsiteY104" fmla="*/ 951288 h 1608746"/>
              <a:gd name="connsiteX105" fmla="*/ 535812 w 1674165"/>
              <a:gd name="connsiteY105" fmla="*/ 933221 h 1608746"/>
              <a:gd name="connsiteX106" fmla="*/ 377337 w 1674165"/>
              <a:gd name="connsiteY106" fmla="*/ 933221 h 1608746"/>
              <a:gd name="connsiteX107" fmla="*/ 218860 w 1674165"/>
              <a:gd name="connsiteY107" fmla="*/ 933221 h 1608746"/>
              <a:gd name="connsiteX108" fmla="*/ 237267 w 1674165"/>
              <a:gd name="connsiteY108" fmla="*/ 968587 h 1608746"/>
              <a:gd name="connsiteX109" fmla="*/ 454177 w 1674165"/>
              <a:gd name="connsiteY109" fmla="*/ 1209280 h 1608746"/>
              <a:gd name="connsiteX110" fmla="*/ 478409 w 1674165"/>
              <a:gd name="connsiteY110" fmla="*/ 1225508 h 1608746"/>
              <a:gd name="connsiteX111" fmla="*/ 556454 w 1674165"/>
              <a:gd name="connsiteY111" fmla="*/ 1225508 h 1608746"/>
              <a:gd name="connsiteX112" fmla="*/ 634500 w 1674165"/>
              <a:gd name="connsiteY112" fmla="*/ 1225508 h 1608746"/>
              <a:gd name="connsiteX113" fmla="*/ 980145 w 1674165"/>
              <a:gd name="connsiteY113" fmla="*/ 1212163 h 1608746"/>
              <a:gd name="connsiteX114" fmla="*/ 1074135 w 1674165"/>
              <a:gd name="connsiteY114" fmla="*/ 956011 h 1608746"/>
              <a:gd name="connsiteX115" fmla="*/ 1078625 w 1674165"/>
              <a:gd name="connsiteY115" fmla="*/ 933221 h 1608746"/>
              <a:gd name="connsiteX116" fmla="*/ 831989 w 1674165"/>
              <a:gd name="connsiteY116" fmla="*/ 933221 h 1608746"/>
              <a:gd name="connsiteX117" fmla="*/ 585351 w 1674165"/>
              <a:gd name="connsiteY117" fmla="*/ 934841 h 1608746"/>
              <a:gd name="connsiteX118" fmla="*/ 593613 w 1674165"/>
              <a:gd name="connsiteY118" fmla="*/ 973337 h 1608746"/>
              <a:gd name="connsiteX119" fmla="*/ 676513 w 1674165"/>
              <a:gd name="connsiteY119" fmla="*/ 1199560 h 1608746"/>
              <a:gd name="connsiteX120" fmla="*/ 691683 w 1674165"/>
              <a:gd name="connsiteY120" fmla="*/ 1225480 h 1608746"/>
              <a:gd name="connsiteX121" fmla="*/ 831509 w 1674165"/>
              <a:gd name="connsiteY121" fmla="*/ 1225508 h 1608746"/>
              <a:gd name="connsiteX122" fmla="*/ 971337 w 1674165"/>
              <a:gd name="connsiteY122" fmla="*/ 1225508 h 1608746"/>
              <a:gd name="connsiteX123" fmla="*/ 980145 w 1674165"/>
              <a:gd name="connsiteY123" fmla="*/ 1212163 h 1608746"/>
              <a:gd name="connsiteX124" fmla="*/ 523596 w 1674165"/>
              <a:gd name="connsiteY124" fmla="*/ 849146 h 1608746"/>
              <a:gd name="connsiteX125" fmla="*/ 523541 w 1674165"/>
              <a:gd name="connsiteY125" fmla="*/ 519133 h 1608746"/>
              <a:gd name="connsiteX126" fmla="*/ 528329 w 1674165"/>
              <a:gd name="connsiteY126" fmla="*/ 483767 h 1608746"/>
              <a:gd name="connsiteX127" fmla="*/ 364512 w 1674165"/>
              <a:gd name="connsiteY127" fmla="*/ 483767 h 1608746"/>
              <a:gd name="connsiteX128" fmla="*/ 200694 w 1674165"/>
              <a:gd name="connsiteY128" fmla="*/ 483767 h 1608746"/>
              <a:gd name="connsiteX129" fmla="*/ 191962 w 1674165"/>
              <a:gd name="connsiteY129" fmla="*/ 514437 h 1608746"/>
              <a:gd name="connsiteX130" fmla="*/ 169496 w 1674165"/>
              <a:gd name="connsiteY130" fmla="*/ 728826 h 1608746"/>
              <a:gd name="connsiteX131" fmla="*/ 191962 w 1674165"/>
              <a:gd name="connsiteY131" fmla="*/ 855434 h 1608746"/>
              <a:gd name="connsiteX132" fmla="*/ 200694 w 1674165"/>
              <a:gd name="connsiteY132" fmla="*/ 886076 h 1608746"/>
              <a:gd name="connsiteX133" fmla="*/ 364545 w 1674165"/>
              <a:gd name="connsiteY133" fmla="*/ 886076 h 1608746"/>
              <a:gd name="connsiteX134" fmla="*/ 528398 w 1674165"/>
              <a:gd name="connsiteY134" fmla="*/ 886076 h 1608746"/>
              <a:gd name="connsiteX135" fmla="*/ 523607 w 1674165"/>
              <a:gd name="connsiteY135" fmla="*/ 849146 h 1608746"/>
              <a:gd name="connsiteX136" fmla="*/ 1087183 w 1674165"/>
              <a:gd name="connsiteY136" fmla="*/ 877427 h 1608746"/>
              <a:gd name="connsiteX137" fmla="*/ 1087180 w 1674165"/>
              <a:gd name="connsiteY137" fmla="*/ 492416 h 1608746"/>
              <a:gd name="connsiteX138" fmla="*/ 1085404 w 1674165"/>
              <a:gd name="connsiteY138" fmla="*/ 483740 h 1608746"/>
              <a:gd name="connsiteX139" fmla="*/ 831289 w 1674165"/>
              <a:gd name="connsiteY139" fmla="*/ 484536 h 1608746"/>
              <a:gd name="connsiteX140" fmla="*/ 577174 w 1674165"/>
              <a:gd name="connsiteY140" fmla="*/ 485359 h 1608746"/>
              <a:gd name="connsiteX141" fmla="*/ 573245 w 1674165"/>
              <a:gd name="connsiteY141" fmla="*/ 518364 h 1608746"/>
              <a:gd name="connsiteX142" fmla="*/ 565782 w 1674165"/>
              <a:gd name="connsiteY142" fmla="*/ 747800 h 1608746"/>
              <a:gd name="connsiteX143" fmla="*/ 577341 w 1674165"/>
              <a:gd name="connsiteY143" fmla="*/ 882150 h 1608746"/>
              <a:gd name="connsiteX144" fmla="*/ 832006 w 1674165"/>
              <a:gd name="connsiteY144" fmla="*/ 886076 h 1608746"/>
              <a:gd name="connsiteX145" fmla="*/ 1085409 w 1674165"/>
              <a:gd name="connsiteY145" fmla="*/ 886076 h 1608746"/>
              <a:gd name="connsiteX146" fmla="*/ 1472430 w 1674165"/>
              <a:gd name="connsiteY146" fmla="*/ 854363 h 1608746"/>
              <a:gd name="connsiteX147" fmla="*/ 1494009 w 1674165"/>
              <a:gd name="connsiteY147" fmla="*/ 704993 h 1608746"/>
              <a:gd name="connsiteX148" fmla="*/ 1469374 w 1674165"/>
              <a:gd name="connsiteY148" fmla="*/ 505788 h 1608746"/>
              <a:gd name="connsiteX149" fmla="*/ 1463221 w 1674165"/>
              <a:gd name="connsiteY149" fmla="*/ 485359 h 1608746"/>
              <a:gd name="connsiteX150" fmla="*/ 1298753 w 1674165"/>
              <a:gd name="connsiteY150" fmla="*/ 484536 h 1608746"/>
              <a:gd name="connsiteX151" fmla="*/ 1134281 w 1674165"/>
              <a:gd name="connsiteY151" fmla="*/ 483712 h 1608746"/>
              <a:gd name="connsiteX152" fmla="*/ 1136072 w 1674165"/>
              <a:gd name="connsiteY152" fmla="*/ 490824 h 1608746"/>
              <a:gd name="connsiteX153" fmla="*/ 1136264 w 1674165"/>
              <a:gd name="connsiteY153" fmla="*/ 877455 h 1608746"/>
              <a:gd name="connsiteX154" fmla="*/ 1134460 w 1674165"/>
              <a:gd name="connsiteY154" fmla="*/ 886131 h 1608746"/>
              <a:gd name="connsiteX155" fmla="*/ 1299085 w 1674165"/>
              <a:gd name="connsiteY155" fmla="*/ 885308 h 1608746"/>
              <a:gd name="connsiteX156" fmla="*/ 1463713 w 1674165"/>
              <a:gd name="connsiteY156" fmla="*/ 884511 h 1608746"/>
              <a:gd name="connsiteX157" fmla="*/ 1472417 w 1674165"/>
              <a:gd name="connsiteY157" fmla="*/ 854363 h 1608746"/>
              <a:gd name="connsiteX158" fmla="*/ 545510 w 1674165"/>
              <a:gd name="connsiteY158" fmla="*/ 388709 h 1608746"/>
              <a:gd name="connsiteX159" fmla="*/ 685313 w 1674165"/>
              <a:gd name="connsiteY159" fmla="*/ 75664 h 1608746"/>
              <a:gd name="connsiteX160" fmla="*/ 700423 w 1674165"/>
              <a:gd name="connsiteY160" fmla="*/ 59519 h 1608746"/>
              <a:gd name="connsiteX161" fmla="*/ 689509 w 1674165"/>
              <a:gd name="connsiteY161" fmla="*/ 61496 h 1608746"/>
              <a:gd name="connsiteX162" fmla="*/ 575537 w 1674165"/>
              <a:gd name="connsiteY162" fmla="*/ 96395 h 1608746"/>
              <a:gd name="connsiteX163" fmla="*/ 237234 w 1674165"/>
              <a:gd name="connsiteY163" fmla="*/ 401449 h 1608746"/>
              <a:gd name="connsiteX164" fmla="*/ 222188 w 1674165"/>
              <a:gd name="connsiteY164" fmla="*/ 433437 h 1608746"/>
              <a:gd name="connsiteX165" fmla="*/ 378652 w 1674165"/>
              <a:gd name="connsiteY165" fmla="*/ 436622 h 1608746"/>
              <a:gd name="connsiteX166" fmla="*/ 535120 w 1674165"/>
              <a:gd name="connsiteY166" fmla="*/ 436622 h 1608746"/>
              <a:gd name="connsiteX167" fmla="*/ 1077878 w 1674165"/>
              <a:gd name="connsiteY167" fmla="*/ 429565 h 1608746"/>
              <a:gd name="connsiteX168" fmla="*/ 1067675 w 1674165"/>
              <a:gd name="connsiteY168" fmla="*/ 384782 h 1608746"/>
              <a:gd name="connsiteX169" fmla="*/ 881243 w 1674165"/>
              <a:gd name="connsiteY169" fmla="*/ 59162 h 1608746"/>
              <a:gd name="connsiteX170" fmla="*/ 832437 w 1674165"/>
              <a:gd name="connsiteY170" fmla="*/ 48481 h 1608746"/>
              <a:gd name="connsiteX171" fmla="*/ 783688 w 1674165"/>
              <a:gd name="connsiteY171" fmla="*/ 58723 h 1608746"/>
              <a:gd name="connsiteX172" fmla="*/ 697609 w 1674165"/>
              <a:gd name="connsiteY172" fmla="*/ 136483 h 1608746"/>
              <a:gd name="connsiteX173" fmla="*/ 593742 w 1674165"/>
              <a:gd name="connsiteY173" fmla="*/ 395408 h 1608746"/>
              <a:gd name="connsiteX174" fmla="*/ 585351 w 1674165"/>
              <a:gd name="connsiteY174" fmla="*/ 435112 h 1608746"/>
              <a:gd name="connsiteX175" fmla="*/ 832431 w 1674165"/>
              <a:gd name="connsiteY175" fmla="*/ 436622 h 1608746"/>
              <a:gd name="connsiteX176" fmla="*/ 1079511 w 1674165"/>
              <a:gd name="connsiteY176" fmla="*/ 436622 h 1608746"/>
              <a:gd name="connsiteX177" fmla="*/ 475633 w 1674165"/>
              <a:gd name="connsiteY177" fmla="*/ 1514802 h 1608746"/>
              <a:gd name="connsiteX178" fmla="*/ 465355 w 1674165"/>
              <a:gd name="connsiteY178" fmla="*/ 1507937 h 1608746"/>
              <a:gd name="connsiteX179" fmla="*/ 408677 w 1674165"/>
              <a:gd name="connsiteY179" fmla="*/ 1339430 h 1608746"/>
              <a:gd name="connsiteX180" fmla="*/ 414798 w 1674165"/>
              <a:gd name="connsiteY180" fmla="*/ 1325811 h 1608746"/>
              <a:gd name="connsiteX181" fmla="*/ 449913 w 1674165"/>
              <a:gd name="connsiteY181" fmla="*/ 1324438 h 1608746"/>
              <a:gd name="connsiteX182" fmla="*/ 469894 w 1674165"/>
              <a:gd name="connsiteY182" fmla="*/ 1375344 h 1608746"/>
              <a:gd name="connsiteX183" fmla="*/ 487360 w 1674165"/>
              <a:gd name="connsiteY183" fmla="*/ 1420375 h 1608746"/>
              <a:gd name="connsiteX184" fmla="*/ 504837 w 1674165"/>
              <a:gd name="connsiteY184" fmla="*/ 1382868 h 1608746"/>
              <a:gd name="connsiteX185" fmla="*/ 524241 w 1674165"/>
              <a:gd name="connsiteY185" fmla="*/ 1342258 h 1608746"/>
              <a:gd name="connsiteX186" fmla="*/ 537135 w 1674165"/>
              <a:gd name="connsiteY186" fmla="*/ 1336986 h 1608746"/>
              <a:gd name="connsiteX187" fmla="*/ 573220 w 1674165"/>
              <a:gd name="connsiteY187" fmla="*/ 1372241 h 1608746"/>
              <a:gd name="connsiteX188" fmla="*/ 590271 w 1674165"/>
              <a:gd name="connsiteY188" fmla="*/ 1412247 h 1608746"/>
              <a:gd name="connsiteX189" fmla="*/ 595702 w 1674165"/>
              <a:gd name="connsiteY189" fmla="*/ 1424548 h 1608746"/>
              <a:gd name="connsiteX190" fmla="*/ 611768 w 1674165"/>
              <a:gd name="connsiteY190" fmla="*/ 1377513 h 1608746"/>
              <a:gd name="connsiteX191" fmla="*/ 632383 w 1674165"/>
              <a:gd name="connsiteY191" fmla="*/ 1324520 h 1608746"/>
              <a:gd name="connsiteX192" fmla="*/ 667567 w 1674165"/>
              <a:gd name="connsiteY192" fmla="*/ 1325811 h 1608746"/>
              <a:gd name="connsiteX193" fmla="*/ 673687 w 1674165"/>
              <a:gd name="connsiteY193" fmla="*/ 1339539 h 1608746"/>
              <a:gd name="connsiteX194" fmla="*/ 615604 w 1674165"/>
              <a:gd name="connsiteY194" fmla="*/ 1509173 h 1608746"/>
              <a:gd name="connsiteX195" fmla="*/ 598437 w 1674165"/>
              <a:gd name="connsiteY195" fmla="*/ 1514665 h 1608746"/>
              <a:gd name="connsiteX196" fmla="*/ 562520 w 1674165"/>
              <a:gd name="connsiteY196" fmla="*/ 1470677 h 1608746"/>
              <a:gd name="connsiteX197" fmla="*/ 523398 w 1674165"/>
              <a:gd name="connsiteY197" fmla="*/ 1463209 h 1608746"/>
              <a:gd name="connsiteX198" fmla="*/ 500795 w 1674165"/>
              <a:gd name="connsiteY198" fmla="*/ 1508843 h 1608746"/>
              <a:gd name="connsiteX199" fmla="*/ 475633 w 1674165"/>
              <a:gd name="connsiteY199" fmla="*/ 1514802 h 1608746"/>
              <a:gd name="connsiteX200" fmla="*/ 770091 w 1674165"/>
              <a:gd name="connsiteY200" fmla="*/ 1514802 h 1608746"/>
              <a:gd name="connsiteX201" fmla="*/ 759520 w 1674165"/>
              <a:gd name="connsiteY201" fmla="*/ 1507690 h 1608746"/>
              <a:gd name="connsiteX202" fmla="*/ 703133 w 1674165"/>
              <a:gd name="connsiteY202" fmla="*/ 1339183 h 1608746"/>
              <a:gd name="connsiteX203" fmla="*/ 737027 w 1674165"/>
              <a:gd name="connsiteY203" fmla="*/ 1320182 h 1608746"/>
              <a:gd name="connsiteX204" fmla="*/ 767867 w 1674165"/>
              <a:gd name="connsiteY204" fmla="*/ 1387371 h 1608746"/>
              <a:gd name="connsiteX205" fmla="*/ 780429 w 1674165"/>
              <a:gd name="connsiteY205" fmla="*/ 1425097 h 1608746"/>
              <a:gd name="connsiteX206" fmla="*/ 791676 w 1674165"/>
              <a:gd name="connsiteY206" fmla="*/ 1398409 h 1608746"/>
              <a:gd name="connsiteX207" fmla="*/ 845506 w 1674165"/>
              <a:gd name="connsiteY207" fmla="*/ 1339018 h 1608746"/>
              <a:gd name="connsiteX208" fmla="*/ 871135 w 1674165"/>
              <a:gd name="connsiteY208" fmla="*/ 1381879 h 1608746"/>
              <a:gd name="connsiteX209" fmla="*/ 889532 w 1674165"/>
              <a:gd name="connsiteY209" fmla="*/ 1420375 h 1608746"/>
              <a:gd name="connsiteX210" fmla="*/ 907797 w 1674165"/>
              <a:gd name="connsiteY210" fmla="*/ 1372434 h 1608746"/>
              <a:gd name="connsiteX211" fmla="*/ 933423 w 1674165"/>
              <a:gd name="connsiteY211" fmla="*/ 1320209 h 1608746"/>
              <a:gd name="connsiteX212" fmla="*/ 953786 w 1674165"/>
              <a:gd name="connsiteY212" fmla="*/ 1320896 h 1608746"/>
              <a:gd name="connsiteX213" fmla="*/ 942188 w 1674165"/>
              <a:gd name="connsiteY213" fmla="*/ 1421308 h 1608746"/>
              <a:gd name="connsiteX214" fmla="*/ 910641 w 1674165"/>
              <a:gd name="connsiteY214" fmla="*/ 1507580 h 1608746"/>
              <a:gd name="connsiteX215" fmla="*/ 876215 w 1674165"/>
              <a:gd name="connsiteY215" fmla="*/ 1509667 h 1608746"/>
              <a:gd name="connsiteX216" fmla="*/ 853431 w 1674165"/>
              <a:gd name="connsiteY216" fmla="*/ 1463895 h 1608746"/>
              <a:gd name="connsiteX217" fmla="*/ 833985 w 1674165"/>
              <a:gd name="connsiteY217" fmla="*/ 1425674 h 1608746"/>
              <a:gd name="connsiteX218" fmla="*/ 815830 w 1674165"/>
              <a:gd name="connsiteY218" fmla="*/ 1465515 h 1608746"/>
              <a:gd name="connsiteX219" fmla="*/ 794960 w 1674165"/>
              <a:gd name="connsiteY219" fmla="*/ 1508459 h 1608746"/>
              <a:gd name="connsiteX220" fmla="*/ 770091 w 1674165"/>
              <a:gd name="connsiteY220" fmla="*/ 1514774 h 1608746"/>
              <a:gd name="connsiteX221" fmla="*/ 171839 w 1674165"/>
              <a:gd name="connsiteY221" fmla="*/ 1507580 h 1608746"/>
              <a:gd name="connsiteX222" fmla="*/ 140287 w 1674165"/>
              <a:gd name="connsiteY222" fmla="*/ 1421308 h 1608746"/>
              <a:gd name="connsiteX223" fmla="*/ 128582 w 1674165"/>
              <a:gd name="connsiteY223" fmla="*/ 1320896 h 1608746"/>
              <a:gd name="connsiteX224" fmla="*/ 148944 w 1674165"/>
              <a:gd name="connsiteY224" fmla="*/ 1320209 h 1608746"/>
              <a:gd name="connsiteX225" fmla="*/ 174620 w 1674165"/>
              <a:gd name="connsiteY225" fmla="*/ 1372461 h 1608746"/>
              <a:gd name="connsiteX226" fmla="*/ 192986 w 1674165"/>
              <a:gd name="connsiteY226" fmla="*/ 1420375 h 1608746"/>
              <a:gd name="connsiteX227" fmla="*/ 210741 w 1674165"/>
              <a:gd name="connsiteY227" fmla="*/ 1383444 h 1608746"/>
              <a:gd name="connsiteX228" fmla="*/ 242177 w 1674165"/>
              <a:gd name="connsiteY228" fmla="*/ 1337014 h 1608746"/>
              <a:gd name="connsiteX229" fmla="*/ 284626 w 1674165"/>
              <a:gd name="connsiteY229" fmla="*/ 1384570 h 1608746"/>
              <a:gd name="connsiteX230" fmla="*/ 302078 w 1674165"/>
              <a:gd name="connsiteY230" fmla="*/ 1424576 h 1608746"/>
              <a:gd name="connsiteX231" fmla="*/ 319047 w 1674165"/>
              <a:gd name="connsiteY231" fmla="*/ 1375125 h 1608746"/>
              <a:gd name="connsiteX232" fmla="*/ 337175 w 1674165"/>
              <a:gd name="connsiteY232" fmla="*/ 1324740 h 1608746"/>
              <a:gd name="connsiteX233" fmla="*/ 379232 w 1674165"/>
              <a:gd name="connsiteY233" fmla="*/ 1339457 h 1608746"/>
              <a:gd name="connsiteX234" fmla="*/ 321535 w 1674165"/>
              <a:gd name="connsiteY234" fmla="*/ 1508843 h 1608746"/>
              <a:gd name="connsiteX235" fmla="*/ 303550 w 1674165"/>
              <a:gd name="connsiteY235" fmla="*/ 1514665 h 1608746"/>
              <a:gd name="connsiteX236" fmla="*/ 266081 w 1674165"/>
              <a:gd name="connsiteY236" fmla="*/ 1464389 h 1608746"/>
              <a:gd name="connsiteX237" fmla="*/ 248492 w 1674165"/>
              <a:gd name="connsiteY237" fmla="*/ 1425784 h 1608746"/>
              <a:gd name="connsiteX238" fmla="*/ 228975 w 1674165"/>
              <a:gd name="connsiteY238" fmla="*/ 1464087 h 1608746"/>
              <a:gd name="connsiteX239" fmla="*/ 206065 w 1674165"/>
              <a:gd name="connsiteY239" fmla="*/ 1509750 h 1608746"/>
              <a:gd name="connsiteX240" fmla="*/ 171839 w 1674165"/>
              <a:gd name="connsiteY240" fmla="*/ 1507608 h 1608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1674165" h="1608746">
                <a:moveTo>
                  <a:pt x="61849" y="1606016"/>
                </a:moveTo>
                <a:cubicBezTo>
                  <a:pt x="34377" y="1597998"/>
                  <a:pt x="12384" y="1576938"/>
                  <a:pt x="4605" y="1551238"/>
                </a:cubicBezTo>
                <a:cubicBezTo>
                  <a:pt x="184" y="1536630"/>
                  <a:pt x="-436" y="1515735"/>
                  <a:pt x="385" y="1408898"/>
                </a:cubicBezTo>
                <a:cubicBezTo>
                  <a:pt x="1316" y="1287397"/>
                  <a:pt x="1554" y="1283279"/>
                  <a:pt x="8419" y="1271088"/>
                </a:cubicBezTo>
                <a:cubicBezTo>
                  <a:pt x="17820" y="1254393"/>
                  <a:pt x="34034" y="1239868"/>
                  <a:pt x="52055" y="1232043"/>
                </a:cubicBezTo>
                <a:cubicBezTo>
                  <a:pt x="66212" y="1225892"/>
                  <a:pt x="73065" y="1225645"/>
                  <a:pt x="230367" y="1225480"/>
                </a:cubicBezTo>
                <a:lnTo>
                  <a:pt x="393954" y="1225316"/>
                </a:lnTo>
                <a:lnTo>
                  <a:pt x="380868" y="1215321"/>
                </a:lnTo>
                <a:cubicBezTo>
                  <a:pt x="356928" y="1197062"/>
                  <a:pt x="300346" y="1142586"/>
                  <a:pt x="278877" y="1117105"/>
                </a:cubicBezTo>
                <a:cubicBezTo>
                  <a:pt x="135345" y="946730"/>
                  <a:pt x="85295" y="724982"/>
                  <a:pt x="142157" y="511307"/>
                </a:cubicBezTo>
                <a:cubicBezTo>
                  <a:pt x="190532" y="329538"/>
                  <a:pt x="323188" y="168773"/>
                  <a:pt x="498214" y="79783"/>
                </a:cubicBezTo>
                <a:cubicBezTo>
                  <a:pt x="671518" y="-8329"/>
                  <a:pt x="871896" y="-23760"/>
                  <a:pt x="1060689" y="36454"/>
                </a:cubicBezTo>
                <a:cubicBezTo>
                  <a:pt x="1120055" y="55400"/>
                  <a:pt x="1191050" y="89310"/>
                  <a:pt x="1195152" y="100706"/>
                </a:cubicBezTo>
                <a:cubicBezTo>
                  <a:pt x="1199609" y="113061"/>
                  <a:pt x="1195125" y="124731"/>
                  <a:pt x="1183743" y="130387"/>
                </a:cubicBezTo>
                <a:cubicBezTo>
                  <a:pt x="1173796" y="135330"/>
                  <a:pt x="1173156" y="135137"/>
                  <a:pt x="1125717" y="113418"/>
                </a:cubicBezTo>
                <a:cubicBezTo>
                  <a:pt x="1072504" y="89091"/>
                  <a:pt x="1043520" y="78520"/>
                  <a:pt x="1003311" y="68827"/>
                </a:cubicBezTo>
                <a:cubicBezTo>
                  <a:pt x="988470" y="65258"/>
                  <a:pt x="973682" y="61578"/>
                  <a:pt x="970452" y="60645"/>
                </a:cubicBezTo>
                <a:cubicBezTo>
                  <a:pt x="966971" y="59656"/>
                  <a:pt x="973217" y="69266"/>
                  <a:pt x="985779" y="84204"/>
                </a:cubicBezTo>
                <a:cubicBezTo>
                  <a:pt x="1044712" y="154330"/>
                  <a:pt x="1091999" y="263035"/>
                  <a:pt x="1118592" y="389505"/>
                </a:cubicBezTo>
                <a:cubicBezTo>
                  <a:pt x="1122409" y="407655"/>
                  <a:pt x="1126220" y="425694"/>
                  <a:pt x="1127060" y="429565"/>
                </a:cubicBezTo>
                <a:lnTo>
                  <a:pt x="1128587" y="436650"/>
                </a:lnTo>
                <a:lnTo>
                  <a:pt x="1285567" y="436650"/>
                </a:lnTo>
                <a:cubicBezTo>
                  <a:pt x="1371908" y="436650"/>
                  <a:pt x="1442548" y="435579"/>
                  <a:pt x="1442546" y="434289"/>
                </a:cubicBezTo>
                <a:cubicBezTo>
                  <a:pt x="1442540" y="428824"/>
                  <a:pt x="1405445" y="362102"/>
                  <a:pt x="1388347" y="336786"/>
                </a:cubicBezTo>
                <a:cubicBezTo>
                  <a:pt x="1363366" y="299828"/>
                  <a:pt x="1339544" y="271574"/>
                  <a:pt x="1301218" y="233463"/>
                </a:cubicBezTo>
                <a:cubicBezTo>
                  <a:pt x="1283579" y="215918"/>
                  <a:pt x="1269148" y="198921"/>
                  <a:pt x="1269148" y="195654"/>
                </a:cubicBezTo>
                <a:cubicBezTo>
                  <a:pt x="1269148" y="187279"/>
                  <a:pt x="1278220" y="175884"/>
                  <a:pt x="1287654" y="172452"/>
                </a:cubicBezTo>
                <a:cubicBezTo>
                  <a:pt x="1299807" y="168004"/>
                  <a:pt x="1309782" y="174567"/>
                  <a:pt x="1345738" y="210536"/>
                </a:cubicBezTo>
                <a:cubicBezTo>
                  <a:pt x="1568757" y="433739"/>
                  <a:pt x="1608530" y="774544"/>
                  <a:pt x="1442397" y="1038769"/>
                </a:cubicBezTo>
                <a:lnTo>
                  <a:pt x="1425376" y="1065842"/>
                </a:lnTo>
                <a:lnTo>
                  <a:pt x="1443350" y="1083607"/>
                </a:lnTo>
                <a:cubicBezTo>
                  <a:pt x="1579597" y="1218314"/>
                  <a:pt x="1666745" y="1307606"/>
                  <a:pt x="1670702" y="1316557"/>
                </a:cubicBezTo>
                <a:cubicBezTo>
                  <a:pt x="1680817" y="1339430"/>
                  <a:pt x="1668481" y="1368040"/>
                  <a:pt x="1643483" y="1379655"/>
                </a:cubicBezTo>
                <a:lnTo>
                  <a:pt x="1628728" y="1386519"/>
                </a:lnTo>
                <a:lnTo>
                  <a:pt x="1543084" y="1373779"/>
                </a:lnTo>
                <a:cubicBezTo>
                  <a:pt x="1495981" y="1366750"/>
                  <a:pt x="1456667" y="1362082"/>
                  <a:pt x="1455720" y="1363400"/>
                </a:cubicBezTo>
                <a:cubicBezTo>
                  <a:pt x="1454772" y="1364718"/>
                  <a:pt x="1431661" y="1394125"/>
                  <a:pt x="1404360" y="1428777"/>
                </a:cubicBezTo>
                <a:cubicBezTo>
                  <a:pt x="1352441" y="1494620"/>
                  <a:pt x="1343953" y="1502116"/>
                  <a:pt x="1321216" y="1502116"/>
                </a:cubicBezTo>
                <a:cubicBezTo>
                  <a:pt x="1305658" y="1502116"/>
                  <a:pt x="1283522" y="1490694"/>
                  <a:pt x="1275814" y="1478722"/>
                </a:cubicBezTo>
                <a:cubicBezTo>
                  <a:pt x="1269757" y="1469304"/>
                  <a:pt x="1269145" y="1463209"/>
                  <a:pt x="1269137" y="1412165"/>
                </a:cubicBezTo>
                <a:cubicBezTo>
                  <a:pt x="1269134" y="1381248"/>
                  <a:pt x="1268168" y="1327458"/>
                  <a:pt x="1266992" y="1292642"/>
                </a:cubicBezTo>
                <a:lnTo>
                  <a:pt x="1264856" y="1229352"/>
                </a:lnTo>
                <a:lnTo>
                  <a:pt x="1235100" y="1249012"/>
                </a:lnTo>
                <a:cubicBezTo>
                  <a:pt x="1195797" y="1275014"/>
                  <a:pt x="1157357" y="1295635"/>
                  <a:pt x="1117148" y="1312274"/>
                </a:cubicBezTo>
                <a:lnTo>
                  <a:pt x="1084292" y="1325866"/>
                </a:lnTo>
                <a:lnTo>
                  <a:pt x="1082655" y="1436767"/>
                </a:lnTo>
                <a:cubicBezTo>
                  <a:pt x="1081211" y="1534681"/>
                  <a:pt x="1080330" y="1549151"/>
                  <a:pt x="1075127" y="1560244"/>
                </a:cubicBezTo>
                <a:cubicBezTo>
                  <a:pt x="1067718" y="1576060"/>
                  <a:pt x="1052142" y="1591793"/>
                  <a:pt x="1035214" y="1600607"/>
                </a:cubicBezTo>
                <a:lnTo>
                  <a:pt x="1022128" y="1607389"/>
                </a:lnTo>
                <a:lnTo>
                  <a:pt x="664141" y="1608240"/>
                </a:lnTo>
                <a:lnTo>
                  <a:pt x="306156" y="1609064"/>
                </a:lnTo>
                <a:lnTo>
                  <a:pt x="298523" y="1602172"/>
                </a:lnTo>
                <a:cubicBezTo>
                  <a:pt x="288413" y="1593056"/>
                  <a:pt x="288363" y="1577762"/>
                  <a:pt x="298413" y="1568701"/>
                </a:cubicBezTo>
                <a:lnTo>
                  <a:pt x="305939" y="1561891"/>
                </a:lnTo>
                <a:lnTo>
                  <a:pt x="659868" y="1561068"/>
                </a:lnTo>
                <a:lnTo>
                  <a:pt x="1013797" y="1560244"/>
                </a:lnTo>
                <a:lnTo>
                  <a:pt x="1022869" y="1551540"/>
                </a:lnTo>
                <a:lnTo>
                  <a:pt x="1031938" y="1542808"/>
                </a:lnTo>
                <a:lnTo>
                  <a:pt x="1031938" y="1416915"/>
                </a:lnTo>
                <a:lnTo>
                  <a:pt x="1031938" y="1291022"/>
                </a:lnTo>
                <a:lnTo>
                  <a:pt x="1021255" y="1281851"/>
                </a:lnTo>
                <a:lnTo>
                  <a:pt x="1010571" y="1272680"/>
                </a:lnTo>
                <a:lnTo>
                  <a:pt x="541182" y="1272680"/>
                </a:lnTo>
                <a:lnTo>
                  <a:pt x="71788" y="1272680"/>
                </a:lnTo>
                <a:lnTo>
                  <a:pt x="61105" y="1281851"/>
                </a:lnTo>
                <a:lnTo>
                  <a:pt x="50421" y="1291022"/>
                </a:lnTo>
                <a:lnTo>
                  <a:pt x="50421" y="1416915"/>
                </a:lnTo>
                <a:lnTo>
                  <a:pt x="50421" y="1542808"/>
                </a:lnTo>
                <a:lnTo>
                  <a:pt x="59482" y="1551540"/>
                </a:lnTo>
                <a:lnTo>
                  <a:pt x="68546" y="1560244"/>
                </a:lnTo>
                <a:lnTo>
                  <a:pt x="132552" y="1561809"/>
                </a:lnTo>
                <a:cubicBezTo>
                  <a:pt x="191075" y="1563264"/>
                  <a:pt x="196954" y="1563923"/>
                  <a:pt x="201194" y="1569497"/>
                </a:cubicBezTo>
                <a:cubicBezTo>
                  <a:pt x="207959" y="1578394"/>
                  <a:pt x="206987" y="1595280"/>
                  <a:pt x="199285" y="1602666"/>
                </a:cubicBezTo>
                <a:cubicBezTo>
                  <a:pt x="193184" y="1608542"/>
                  <a:pt x="188585" y="1608954"/>
                  <a:pt x="131396" y="1608707"/>
                </a:cubicBezTo>
                <a:cubicBezTo>
                  <a:pt x="97656" y="1608570"/>
                  <a:pt x="66360" y="1607334"/>
                  <a:pt x="61849" y="1606016"/>
                </a:cubicBezTo>
                <a:close/>
                <a:moveTo>
                  <a:pt x="1373748" y="1390116"/>
                </a:moveTo>
                <a:cubicBezTo>
                  <a:pt x="1401587" y="1354586"/>
                  <a:pt x="1428089" y="1323724"/>
                  <a:pt x="1432639" y="1321527"/>
                </a:cubicBezTo>
                <a:cubicBezTo>
                  <a:pt x="1449547" y="1313372"/>
                  <a:pt x="1460058" y="1313812"/>
                  <a:pt x="1540915" y="1326113"/>
                </a:cubicBezTo>
                <a:cubicBezTo>
                  <a:pt x="1586366" y="1333032"/>
                  <a:pt x="1624326" y="1337947"/>
                  <a:pt x="1625273" y="1337041"/>
                </a:cubicBezTo>
                <a:cubicBezTo>
                  <a:pt x="1626221" y="1336135"/>
                  <a:pt x="1621067" y="1329408"/>
                  <a:pt x="1613818" y="1322104"/>
                </a:cubicBezTo>
                <a:cubicBezTo>
                  <a:pt x="1498081" y="1205381"/>
                  <a:pt x="1322484" y="1031986"/>
                  <a:pt x="1319217" y="1031217"/>
                </a:cubicBezTo>
                <a:cubicBezTo>
                  <a:pt x="1315743" y="1030394"/>
                  <a:pt x="1314961" y="1068340"/>
                  <a:pt x="1314997" y="1235502"/>
                </a:cubicBezTo>
                <a:cubicBezTo>
                  <a:pt x="1315051" y="1427734"/>
                  <a:pt x="1315795" y="1455164"/>
                  <a:pt x="1321059" y="1454807"/>
                </a:cubicBezTo>
                <a:cubicBezTo>
                  <a:pt x="1322199" y="1454724"/>
                  <a:pt x="1345908" y="1425619"/>
                  <a:pt x="1373748" y="1390116"/>
                </a:cubicBezTo>
                <a:close/>
                <a:moveTo>
                  <a:pt x="1127013" y="1255656"/>
                </a:moveTo>
                <a:cubicBezTo>
                  <a:pt x="1170707" y="1234843"/>
                  <a:pt x="1209858" y="1211175"/>
                  <a:pt x="1245427" y="1184019"/>
                </a:cubicBezTo>
                <a:lnTo>
                  <a:pt x="1265875" y="1168396"/>
                </a:lnTo>
                <a:lnTo>
                  <a:pt x="1265875" y="1097061"/>
                </a:lnTo>
                <a:cubicBezTo>
                  <a:pt x="1265875" y="1029241"/>
                  <a:pt x="1266243" y="1025012"/>
                  <a:pt x="1273236" y="1011860"/>
                </a:cubicBezTo>
                <a:cubicBezTo>
                  <a:pt x="1282805" y="993875"/>
                  <a:pt x="1294329" y="986132"/>
                  <a:pt x="1314247" y="984292"/>
                </a:cubicBezTo>
                <a:cubicBezTo>
                  <a:pt x="1336007" y="982288"/>
                  <a:pt x="1350090" y="989152"/>
                  <a:pt x="1372086" y="1012492"/>
                </a:cubicBezTo>
                <a:lnTo>
                  <a:pt x="1389739" y="1031245"/>
                </a:lnTo>
                <a:lnTo>
                  <a:pt x="1398795" y="1017571"/>
                </a:lnTo>
                <a:cubicBezTo>
                  <a:pt x="1409561" y="1001371"/>
                  <a:pt x="1442551" y="939783"/>
                  <a:pt x="1442551" y="935912"/>
                </a:cubicBezTo>
                <a:cubicBezTo>
                  <a:pt x="1442551" y="934429"/>
                  <a:pt x="1371908" y="933221"/>
                  <a:pt x="1285567" y="933221"/>
                </a:cubicBezTo>
                <a:lnTo>
                  <a:pt x="1128587" y="933221"/>
                </a:lnTo>
                <a:lnTo>
                  <a:pt x="1126914" y="940305"/>
                </a:lnTo>
                <a:cubicBezTo>
                  <a:pt x="1125995" y="944177"/>
                  <a:pt x="1122944" y="958674"/>
                  <a:pt x="1120135" y="972513"/>
                </a:cubicBezTo>
                <a:cubicBezTo>
                  <a:pt x="1102647" y="1058620"/>
                  <a:pt x="1066705" y="1160570"/>
                  <a:pt x="1035145" y="1213591"/>
                </a:cubicBezTo>
                <a:cubicBezTo>
                  <a:pt x="1025349" y="1230066"/>
                  <a:pt x="1025299" y="1230835"/>
                  <a:pt x="1033945" y="1233470"/>
                </a:cubicBezTo>
                <a:cubicBezTo>
                  <a:pt x="1043493" y="1236381"/>
                  <a:pt x="1065725" y="1256178"/>
                  <a:pt x="1071505" y="1266914"/>
                </a:cubicBezTo>
                <a:cubicBezTo>
                  <a:pt x="1074135" y="1271802"/>
                  <a:pt x="1078169" y="1275810"/>
                  <a:pt x="1080475" y="1275810"/>
                </a:cubicBezTo>
                <a:cubicBezTo>
                  <a:pt x="1082782" y="1275810"/>
                  <a:pt x="1103724" y="1266722"/>
                  <a:pt x="1127013" y="1255656"/>
                </a:cubicBezTo>
                <a:close/>
                <a:moveTo>
                  <a:pt x="621784" y="1201153"/>
                </a:moveTo>
                <a:cubicBezTo>
                  <a:pt x="587256" y="1135007"/>
                  <a:pt x="559876" y="1051893"/>
                  <a:pt x="539474" y="951288"/>
                </a:cubicBezTo>
                <a:lnTo>
                  <a:pt x="535812" y="933221"/>
                </a:lnTo>
                <a:lnTo>
                  <a:pt x="377337" y="933221"/>
                </a:lnTo>
                <a:lnTo>
                  <a:pt x="218860" y="933221"/>
                </a:lnTo>
                <a:lnTo>
                  <a:pt x="237267" y="968587"/>
                </a:lnTo>
                <a:cubicBezTo>
                  <a:pt x="287872" y="1065787"/>
                  <a:pt x="360868" y="1146787"/>
                  <a:pt x="454177" y="1209280"/>
                </a:cubicBezTo>
                <a:lnTo>
                  <a:pt x="478409" y="1225508"/>
                </a:lnTo>
                <a:lnTo>
                  <a:pt x="556454" y="1225508"/>
                </a:lnTo>
                <a:lnTo>
                  <a:pt x="634500" y="1225508"/>
                </a:lnTo>
                <a:close/>
                <a:moveTo>
                  <a:pt x="980145" y="1212163"/>
                </a:moveTo>
                <a:cubicBezTo>
                  <a:pt x="1015942" y="1157880"/>
                  <a:pt x="1055728" y="1049449"/>
                  <a:pt x="1074135" y="956011"/>
                </a:cubicBezTo>
                <a:lnTo>
                  <a:pt x="1078625" y="933221"/>
                </a:lnTo>
                <a:lnTo>
                  <a:pt x="831989" y="933221"/>
                </a:lnTo>
                <a:cubicBezTo>
                  <a:pt x="696337" y="933221"/>
                  <a:pt x="585351" y="933963"/>
                  <a:pt x="585351" y="934841"/>
                </a:cubicBezTo>
                <a:cubicBezTo>
                  <a:pt x="585351" y="935748"/>
                  <a:pt x="589069" y="953073"/>
                  <a:pt x="593613" y="973337"/>
                </a:cubicBezTo>
                <a:cubicBezTo>
                  <a:pt x="614198" y="1065237"/>
                  <a:pt x="641535" y="1139840"/>
                  <a:pt x="676513" y="1199560"/>
                </a:cubicBezTo>
                <a:lnTo>
                  <a:pt x="691683" y="1225480"/>
                </a:lnTo>
                <a:lnTo>
                  <a:pt x="831509" y="1225508"/>
                </a:lnTo>
                <a:lnTo>
                  <a:pt x="971337" y="1225508"/>
                </a:lnTo>
                <a:lnTo>
                  <a:pt x="980145" y="1212163"/>
                </a:lnTo>
                <a:close/>
                <a:moveTo>
                  <a:pt x="523596" y="849146"/>
                </a:moveTo>
                <a:cubicBezTo>
                  <a:pt x="516833" y="797004"/>
                  <a:pt x="516789" y="568941"/>
                  <a:pt x="523541" y="519133"/>
                </a:cubicBezTo>
                <a:lnTo>
                  <a:pt x="528329" y="483767"/>
                </a:lnTo>
                <a:lnTo>
                  <a:pt x="364512" y="483767"/>
                </a:lnTo>
                <a:lnTo>
                  <a:pt x="200694" y="483767"/>
                </a:lnTo>
                <a:lnTo>
                  <a:pt x="191962" y="514437"/>
                </a:lnTo>
                <a:cubicBezTo>
                  <a:pt x="171465" y="586376"/>
                  <a:pt x="163703" y="660457"/>
                  <a:pt x="169496" y="728826"/>
                </a:cubicBezTo>
                <a:cubicBezTo>
                  <a:pt x="173769" y="779211"/>
                  <a:pt x="179579" y="811968"/>
                  <a:pt x="191962" y="855434"/>
                </a:cubicBezTo>
                <a:lnTo>
                  <a:pt x="200694" y="886076"/>
                </a:lnTo>
                <a:lnTo>
                  <a:pt x="364545" y="886076"/>
                </a:lnTo>
                <a:lnTo>
                  <a:pt x="528398" y="886076"/>
                </a:lnTo>
                <a:lnTo>
                  <a:pt x="523607" y="849146"/>
                </a:lnTo>
                <a:close/>
                <a:moveTo>
                  <a:pt x="1087183" y="877427"/>
                </a:moveTo>
                <a:cubicBezTo>
                  <a:pt x="1101176" y="809223"/>
                  <a:pt x="1101173" y="560621"/>
                  <a:pt x="1087180" y="492416"/>
                </a:cubicBezTo>
                <a:lnTo>
                  <a:pt x="1085404" y="483740"/>
                </a:lnTo>
                <a:lnTo>
                  <a:pt x="831289" y="484536"/>
                </a:lnTo>
                <a:lnTo>
                  <a:pt x="577174" y="485359"/>
                </a:lnTo>
                <a:lnTo>
                  <a:pt x="573245" y="518364"/>
                </a:lnTo>
                <a:cubicBezTo>
                  <a:pt x="566479" y="575174"/>
                  <a:pt x="562964" y="683247"/>
                  <a:pt x="565782" y="747800"/>
                </a:cubicBezTo>
                <a:cubicBezTo>
                  <a:pt x="568206" y="803347"/>
                  <a:pt x="574126" y="872155"/>
                  <a:pt x="577341" y="882150"/>
                </a:cubicBezTo>
                <a:cubicBezTo>
                  <a:pt x="578338" y="885253"/>
                  <a:pt x="632139" y="886076"/>
                  <a:pt x="832006" y="886076"/>
                </a:cubicBezTo>
                <a:lnTo>
                  <a:pt x="1085409" y="886076"/>
                </a:lnTo>
                <a:close/>
                <a:moveTo>
                  <a:pt x="1472430" y="854363"/>
                </a:moveTo>
                <a:cubicBezTo>
                  <a:pt x="1487189" y="803237"/>
                  <a:pt x="1492192" y="768613"/>
                  <a:pt x="1494009" y="704993"/>
                </a:cubicBezTo>
                <a:cubicBezTo>
                  <a:pt x="1496244" y="626766"/>
                  <a:pt x="1489575" y="572867"/>
                  <a:pt x="1469374" y="505788"/>
                </a:cubicBezTo>
                <a:lnTo>
                  <a:pt x="1463221" y="485359"/>
                </a:lnTo>
                <a:lnTo>
                  <a:pt x="1298753" y="484536"/>
                </a:lnTo>
                <a:lnTo>
                  <a:pt x="1134281" y="483712"/>
                </a:lnTo>
                <a:lnTo>
                  <a:pt x="1136072" y="490824"/>
                </a:lnTo>
                <a:cubicBezTo>
                  <a:pt x="1149993" y="546041"/>
                  <a:pt x="1150133" y="810870"/>
                  <a:pt x="1136264" y="877455"/>
                </a:cubicBezTo>
                <a:lnTo>
                  <a:pt x="1134460" y="886131"/>
                </a:lnTo>
                <a:lnTo>
                  <a:pt x="1299085" y="885308"/>
                </a:lnTo>
                <a:lnTo>
                  <a:pt x="1463713" y="884511"/>
                </a:lnTo>
                <a:lnTo>
                  <a:pt x="1472417" y="854363"/>
                </a:lnTo>
                <a:close/>
                <a:moveTo>
                  <a:pt x="545510" y="388709"/>
                </a:moveTo>
                <a:cubicBezTo>
                  <a:pt x="574651" y="254276"/>
                  <a:pt x="626205" y="138817"/>
                  <a:pt x="685313" y="75664"/>
                </a:cubicBezTo>
                <a:lnTo>
                  <a:pt x="700423" y="59519"/>
                </a:lnTo>
                <a:lnTo>
                  <a:pt x="689509" y="61496"/>
                </a:lnTo>
                <a:cubicBezTo>
                  <a:pt x="667441" y="65477"/>
                  <a:pt x="602556" y="85357"/>
                  <a:pt x="575537" y="96395"/>
                </a:cubicBezTo>
                <a:cubicBezTo>
                  <a:pt x="428035" y="156637"/>
                  <a:pt x="309209" y="263776"/>
                  <a:pt x="237234" y="401449"/>
                </a:cubicBezTo>
                <a:cubicBezTo>
                  <a:pt x="228959" y="417264"/>
                  <a:pt x="222188" y="431680"/>
                  <a:pt x="222188" y="433437"/>
                </a:cubicBezTo>
                <a:cubicBezTo>
                  <a:pt x="222188" y="435551"/>
                  <a:pt x="274481" y="436622"/>
                  <a:pt x="378652" y="436622"/>
                </a:cubicBezTo>
                <a:lnTo>
                  <a:pt x="535120" y="436622"/>
                </a:lnTo>
                <a:close/>
                <a:moveTo>
                  <a:pt x="1077878" y="429565"/>
                </a:moveTo>
                <a:cubicBezTo>
                  <a:pt x="1076980" y="425667"/>
                  <a:pt x="1072389" y="405513"/>
                  <a:pt x="1067675" y="384782"/>
                </a:cubicBezTo>
                <a:cubicBezTo>
                  <a:pt x="1030382" y="220695"/>
                  <a:pt x="958923" y="95900"/>
                  <a:pt x="881243" y="59162"/>
                </a:cubicBezTo>
                <a:cubicBezTo>
                  <a:pt x="861275" y="49716"/>
                  <a:pt x="855663" y="48481"/>
                  <a:pt x="832437" y="48481"/>
                </a:cubicBezTo>
                <a:cubicBezTo>
                  <a:pt x="809603" y="48481"/>
                  <a:pt x="803271" y="49826"/>
                  <a:pt x="783688" y="58723"/>
                </a:cubicBezTo>
                <a:cubicBezTo>
                  <a:pt x="757947" y="70419"/>
                  <a:pt x="719627" y="105044"/>
                  <a:pt x="697609" y="136483"/>
                </a:cubicBezTo>
                <a:cubicBezTo>
                  <a:pt x="653750" y="199086"/>
                  <a:pt x="616457" y="292058"/>
                  <a:pt x="593742" y="395408"/>
                </a:cubicBezTo>
                <a:cubicBezTo>
                  <a:pt x="589129" y="416414"/>
                  <a:pt x="585351" y="434289"/>
                  <a:pt x="585351" y="435112"/>
                </a:cubicBezTo>
                <a:cubicBezTo>
                  <a:pt x="585351" y="435963"/>
                  <a:pt x="696538" y="436622"/>
                  <a:pt x="832431" y="436622"/>
                </a:cubicBezTo>
                <a:lnTo>
                  <a:pt x="1079511" y="436622"/>
                </a:lnTo>
                <a:close/>
                <a:moveTo>
                  <a:pt x="475633" y="1514802"/>
                </a:moveTo>
                <a:cubicBezTo>
                  <a:pt x="471973" y="1513374"/>
                  <a:pt x="467346" y="1510298"/>
                  <a:pt x="465355" y="1507937"/>
                </a:cubicBezTo>
                <a:cubicBezTo>
                  <a:pt x="460679" y="1502418"/>
                  <a:pt x="408677" y="1347804"/>
                  <a:pt x="408677" y="1339430"/>
                </a:cubicBezTo>
                <a:cubicBezTo>
                  <a:pt x="408677" y="1335943"/>
                  <a:pt x="411431" y="1329792"/>
                  <a:pt x="414798" y="1325811"/>
                </a:cubicBezTo>
                <a:cubicBezTo>
                  <a:pt x="422672" y="1316475"/>
                  <a:pt x="443235" y="1315651"/>
                  <a:pt x="449913" y="1324438"/>
                </a:cubicBezTo>
                <a:cubicBezTo>
                  <a:pt x="452376" y="1327678"/>
                  <a:pt x="461368" y="1350577"/>
                  <a:pt x="469894" y="1375344"/>
                </a:cubicBezTo>
                <a:cubicBezTo>
                  <a:pt x="478420" y="1400111"/>
                  <a:pt x="486278" y="1420375"/>
                  <a:pt x="487360" y="1420375"/>
                </a:cubicBezTo>
                <a:cubicBezTo>
                  <a:pt x="488442" y="1420375"/>
                  <a:pt x="496306" y="1403488"/>
                  <a:pt x="504837" y="1382868"/>
                </a:cubicBezTo>
                <a:cubicBezTo>
                  <a:pt x="513368" y="1362247"/>
                  <a:pt x="522099" y="1343988"/>
                  <a:pt x="524241" y="1342258"/>
                </a:cubicBezTo>
                <a:cubicBezTo>
                  <a:pt x="526383" y="1340555"/>
                  <a:pt x="532185" y="1338194"/>
                  <a:pt x="537135" y="1336986"/>
                </a:cubicBezTo>
                <a:cubicBezTo>
                  <a:pt x="551970" y="1333416"/>
                  <a:pt x="560370" y="1341626"/>
                  <a:pt x="573220" y="1372241"/>
                </a:cubicBezTo>
                <a:cubicBezTo>
                  <a:pt x="579609" y="1387481"/>
                  <a:pt x="587284" y="1405493"/>
                  <a:pt x="590271" y="1412247"/>
                </a:cubicBezTo>
                <a:lnTo>
                  <a:pt x="595702" y="1424548"/>
                </a:lnTo>
                <a:lnTo>
                  <a:pt x="611768" y="1377513"/>
                </a:lnTo>
                <a:cubicBezTo>
                  <a:pt x="620606" y="1351648"/>
                  <a:pt x="629882" y="1327815"/>
                  <a:pt x="632383" y="1324520"/>
                </a:cubicBezTo>
                <a:cubicBezTo>
                  <a:pt x="639129" y="1315651"/>
                  <a:pt x="659646" y="1316420"/>
                  <a:pt x="667567" y="1325811"/>
                </a:cubicBezTo>
                <a:cubicBezTo>
                  <a:pt x="670933" y="1329792"/>
                  <a:pt x="673687" y="1335970"/>
                  <a:pt x="673687" y="1339539"/>
                </a:cubicBezTo>
                <a:cubicBezTo>
                  <a:pt x="673687" y="1349863"/>
                  <a:pt x="621219" y="1503105"/>
                  <a:pt x="615604" y="1509173"/>
                </a:cubicBezTo>
                <a:cubicBezTo>
                  <a:pt x="612493" y="1512523"/>
                  <a:pt x="605815" y="1514665"/>
                  <a:pt x="598437" y="1514665"/>
                </a:cubicBezTo>
                <a:cubicBezTo>
                  <a:pt x="582671" y="1514665"/>
                  <a:pt x="579338" y="1510573"/>
                  <a:pt x="562520" y="1470677"/>
                </a:cubicBezTo>
                <a:cubicBezTo>
                  <a:pt x="539485" y="1416009"/>
                  <a:pt x="543159" y="1416695"/>
                  <a:pt x="523398" y="1463209"/>
                </a:cubicBezTo>
                <a:cubicBezTo>
                  <a:pt x="513944" y="1485449"/>
                  <a:pt x="503774" y="1505988"/>
                  <a:pt x="500795" y="1508843"/>
                </a:cubicBezTo>
                <a:cubicBezTo>
                  <a:pt x="493667" y="1515653"/>
                  <a:pt x="483873" y="1517959"/>
                  <a:pt x="475633" y="1514802"/>
                </a:cubicBezTo>
                <a:close/>
                <a:moveTo>
                  <a:pt x="770091" y="1514802"/>
                </a:moveTo>
                <a:cubicBezTo>
                  <a:pt x="766431" y="1513374"/>
                  <a:pt x="761673" y="1510189"/>
                  <a:pt x="759520" y="1507690"/>
                </a:cubicBezTo>
                <a:cubicBezTo>
                  <a:pt x="753770" y="1501045"/>
                  <a:pt x="703133" y="1349699"/>
                  <a:pt x="703133" y="1339183"/>
                </a:cubicBezTo>
                <a:cubicBezTo>
                  <a:pt x="703133" y="1323861"/>
                  <a:pt x="721675" y="1313455"/>
                  <a:pt x="737027" y="1320182"/>
                </a:cubicBezTo>
                <a:cubicBezTo>
                  <a:pt x="746305" y="1324245"/>
                  <a:pt x="748246" y="1328474"/>
                  <a:pt x="767867" y="1387371"/>
                </a:cubicBezTo>
                <a:lnTo>
                  <a:pt x="780429" y="1425097"/>
                </a:lnTo>
                <a:lnTo>
                  <a:pt x="791676" y="1398409"/>
                </a:lnTo>
                <a:cubicBezTo>
                  <a:pt x="816745" y="1338880"/>
                  <a:pt x="825215" y="1329545"/>
                  <a:pt x="845506" y="1339018"/>
                </a:cubicBezTo>
                <a:cubicBezTo>
                  <a:pt x="853167" y="1342587"/>
                  <a:pt x="857728" y="1350220"/>
                  <a:pt x="871135" y="1381879"/>
                </a:cubicBezTo>
                <a:cubicBezTo>
                  <a:pt x="880109" y="1403049"/>
                  <a:pt x="888384" y="1420375"/>
                  <a:pt x="889532" y="1420375"/>
                </a:cubicBezTo>
                <a:cubicBezTo>
                  <a:pt x="890680" y="1420375"/>
                  <a:pt x="898898" y="1398820"/>
                  <a:pt x="907797" y="1372434"/>
                </a:cubicBezTo>
                <a:cubicBezTo>
                  <a:pt x="922289" y="1329517"/>
                  <a:pt x="924963" y="1324081"/>
                  <a:pt x="933423" y="1320209"/>
                </a:cubicBezTo>
                <a:cubicBezTo>
                  <a:pt x="941586" y="1316475"/>
                  <a:pt x="944346" y="1316585"/>
                  <a:pt x="953786" y="1320896"/>
                </a:cubicBezTo>
                <a:cubicBezTo>
                  <a:pt x="972144" y="1329325"/>
                  <a:pt x="971573" y="1334240"/>
                  <a:pt x="942188" y="1421308"/>
                </a:cubicBezTo>
                <a:cubicBezTo>
                  <a:pt x="927481" y="1464884"/>
                  <a:pt x="913286" y="1503709"/>
                  <a:pt x="910641" y="1507580"/>
                </a:cubicBezTo>
                <a:cubicBezTo>
                  <a:pt x="904812" y="1516174"/>
                  <a:pt x="885056" y="1517355"/>
                  <a:pt x="876215" y="1509667"/>
                </a:cubicBezTo>
                <a:cubicBezTo>
                  <a:pt x="873055" y="1506921"/>
                  <a:pt x="862802" y="1486328"/>
                  <a:pt x="853431" y="1463895"/>
                </a:cubicBezTo>
                <a:cubicBezTo>
                  <a:pt x="844062" y="1441462"/>
                  <a:pt x="835311" y="1424274"/>
                  <a:pt x="833985" y="1425674"/>
                </a:cubicBezTo>
                <a:cubicBezTo>
                  <a:pt x="832659" y="1427075"/>
                  <a:pt x="824490" y="1445004"/>
                  <a:pt x="815830" y="1465515"/>
                </a:cubicBezTo>
                <a:cubicBezTo>
                  <a:pt x="807170" y="1486026"/>
                  <a:pt x="797780" y="1505356"/>
                  <a:pt x="794960" y="1508459"/>
                </a:cubicBezTo>
                <a:cubicBezTo>
                  <a:pt x="788493" y="1515598"/>
                  <a:pt x="778677" y="1518097"/>
                  <a:pt x="770091" y="1514774"/>
                </a:cubicBezTo>
                <a:close/>
                <a:moveTo>
                  <a:pt x="171839" y="1507580"/>
                </a:moveTo>
                <a:cubicBezTo>
                  <a:pt x="169258" y="1503709"/>
                  <a:pt x="155059" y="1464884"/>
                  <a:pt x="140287" y="1421308"/>
                </a:cubicBezTo>
                <a:cubicBezTo>
                  <a:pt x="110770" y="1334240"/>
                  <a:pt x="110196" y="1329325"/>
                  <a:pt x="128582" y="1320896"/>
                </a:cubicBezTo>
                <a:cubicBezTo>
                  <a:pt x="138019" y="1316585"/>
                  <a:pt x="140779" y="1316475"/>
                  <a:pt x="148944" y="1320209"/>
                </a:cubicBezTo>
                <a:cubicBezTo>
                  <a:pt x="157396" y="1324054"/>
                  <a:pt x="160089" y="1329545"/>
                  <a:pt x="174620" y="1372461"/>
                </a:cubicBezTo>
                <a:cubicBezTo>
                  <a:pt x="183549" y="1398820"/>
                  <a:pt x="191814" y="1420375"/>
                  <a:pt x="192986" y="1420375"/>
                </a:cubicBezTo>
                <a:cubicBezTo>
                  <a:pt x="194162" y="1420375"/>
                  <a:pt x="202152" y="1403763"/>
                  <a:pt x="210741" y="1383444"/>
                </a:cubicBezTo>
                <a:cubicBezTo>
                  <a:pt x="228948" y="1340391"/>
                  <a:pt x="229420" y="1339704"/>
                  <a:pt x="242177" y="1337014"/>
                </a:cubicBezTo>
                <a:cubicBezTo>
                  <a:pt x="258893" y="1333499"/>
                  <a:pt x="265626" y="1341022"/>
                  <a:pt x="284626" y="1384570"/>
                </a:cubicBezTo>
                <a:lnTo>
                  <a:pt x="302078" y="1424576"/>
                </a:lnTo>
                <a:lnTo>
                  <a:pt x="319047" y="1375125"/>
                </a:lnTo>
                <a:cubicBezTo>
                  <a:pt x="328380" y="1347942"/>
                  <a:pt x="336538" y="1325261"/>
                  <a:pt x="337175" y="1324740"/>
                </a:cubicBezTo>
                <a:cubicBezTo>
                  <a:pt x="353638" y="1311258"/>
                  <a:pt x="379232" y="1320209"/>
                  <a:pt x="379232" y="1339457"/>
                </a:cubicBezTo>
                <a:cubicBezTo>
                  <a:pt x="379232" y="1352170"/>
                  <a:pt x="328322" y="1501649"/>
                  <a:pt x="321535" y="1508843"/>
                </a:cubicBezTo>
                <a:cubicBezTo>
                  <a:pt x="318020" y="1512578"/>
                  <a:pt x="311565" y="1514665"/>
                  <a:pt x="303550" y="1514665"/>
                </a:cubicBezTo>
                <a:cubicBezTo>
                  <a:pt x="288133" y="1514665"/>
                  <a:pt x="286441" y="1512385"/>
                  <a:pt x="266081" y="1464389"/>
                </a:cubicBezTo>
                <a:cubicBezTo>
                  <a:pt x="257649" y="1444510"/>
                  <a:pt x="249736" y="1427129"/>
                  <a:pt x="248492" y="1425784"/>
                </a:cubicBezTo>
                <a:cubicBezTo>
                  <a:pt x="247248" y="1424466"/>
                  <a:pt x="238465" y="1441682"/>
                  <a:pt x="228975" y="1464087"/>
                </a:cubicBezTo>
                <a:cubicBezTo>
                  <a:pt x="219486" y="1486493"/>
                  <a:pt x="209175" y="1507031"/>
                  <a:pt x="206065" y="1509750"/>
                </a:cubicBezTo>
                <a:cubicBezTo>
                  <a:pt x="197286" y="1517383"/>
                  <a:pt x="177509" y="1516147"/>
                  <a:pt x="171839" y="1507608"/>
                </a:cubicBezTo>
                <a:close/>
              </a:path>
            </a:pathLst>
          </a:custGeom>
          <a:solidFill>
            <a:schemeClr val="bg1"/>
          </a:solidFill>
          <a:ln w="3201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C27600E-B0F8-4146-9262-D3093729F397}"/>
              </a:ext>
            </a:extLst>
          </p:cNvPr>
          <p:cNvSpPr/>
          <p:nvPr/>
        </p:nvSpPr>
        <p:spPr>
          <a:xfrm flipH="1">
            <a:off x="898375" y="5443118"/>
            <a:ext cx="8593603" cy="844289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0" tIns="37148" rIns="7312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975" dirty="0">
              <a:solidFill>
                <a:schemeClr val="tx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E96EAEF-B89F-48A4-8A2E-6ED3C0E05360}"/>
              </a:ext>
            </a:extLst>
          </p:cNvPr>
          <p:cNvSpPr/>
          <p:nvPr/>
        </p:nvSpPr>
        <p:spPr>
          <a:xfrm flipH="1">
            <a:off x="417205" y="5442298"/>
            <a:ext cx="5989320" cy="844289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4D6F13-BABB-4EEB-8665-C43D6B570A1A}"/>
              </a:ext>
            </a:extLst>
          </p:cNvPr>
          <p:cNvSpPr txBox="1"/>
          <p:nvPr/>
        </p:nvSpPr>
        <p:spPr>
          <a:xfrm>
            <a:off x="2769524" y="5668818"/>
            <a:ext cx="1284682" cy="513873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Light" panose="020B0403050203000203" pitchFamily="34" charset="0"/>
              </a:rPr>
              <a:t>Gam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AA7247-51A5-4C22-9D0D-DFC2B2CBA7BE}"/>
              </a:ext>
            </a:extLst>
          </p:cNvPr>
          <p:cNvSpPr txBox="1"/>
          <p:nvPr/>
        </p:nvSpPr>
        <p:spPr>
          <a:xfrm>
            <a:off x="6321742" y="5532435"/>
            <a:ext cx="3062999" cy="685163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algn="r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</a:rPr>
              <a:t>It is only grown in youth with high dimensions and more graphics.</a:t>
            </a:r>
            <a:endParaRPr lang="en-IN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BFD31CA-0F7A-4409-87E0-0AA2D474D320}"/>
              </a:ext>
            </a:extLst>
          </p:cNvPr>
          <p:cNvGrpSpPr/>
          <p:nvPr/>
        </p:nvGrpSpPr>
        <p:grpSpPr>
          <a:xfrm>
            <a:off x="5625206" y="5524583"/>
            <a:ext cx="685163" cy="685163"/>
            <a:chOff x="5842587" y="5424312"/>
            <a:chExt cx="822960" cy="82296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29DE3AF-BE70-4AA0-A8A7-079EBB811A83}"/>
                </a:ext>
              </a:extLst>
            </p:cNvPr>
            <p:cNvSpPr/>
            <p:nvPr/>
          </p:nvSpPr>
          <p:spPr>
            <a:xfrm flipH="1">
              <a:off x="5842587" y="5424312"/>
              <a:ext cx="822960" cy="82296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975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3329E16-C986-43A3-B9AE-25ABD4FCAFFC}"/>
                </a:ext>
              </a:extLst>
            </p:cNvPr>
            <p:cNvSpPr/>
            <p:nvPr/>
          </p:nvSpPr>
          <p:spPr>
            <a:xfrm>
              <a:off x="6025464" y="5607189"/>
              <a:ext cx="457200" cy="457200"/>
            </a:xfrm>
            <a:custGeom>
              <a:avLst/>
              <a:gdLst>
                <a:gd name="connsiteX0" fmla="*/ 200506 w 2268528"/>
                <a:gd name="connsiteY0" fmla="*/ 1509549 h 1517176"/>
                <a:gd name="connsiteX1" fmla="*/ 79852 w 2268528"/>
                <a:gd name="connsiteY1" fmla="*/ 1446122 h 1517176"/>
                <a:gd name="connsiteX2" fmla="*/ 290 w 2268528"/>
                <a:gd name="connsiteY2" fmla="*/ 1279860 h 1517176"/>
                <a:gd name="connsiteX3" fmla="*/ 86419 w 2268528"/>
                <a:gd name="connsiteY3" fmla="*/ 803715 h 1517176"/>
                <a:gd name="connsiteX4" fmla="*/ 99495 w 2268528"/>
                <a:gd name="connsiteY4" fmla="*/ 792440 h 1517176"/>
                <a:gd name="connsiteX5" fmla="*/ 144177 w 2268528"/>
                <a:gd name="connsiteY5" fmla="*/ 802407 h 1517176"/>
                <a:gd name="connsiteX6" fmla="*/ 108696 w 2268528"/>
                <a:gd name="connsiteY6" fmla="*/ 1037461 h 1517176"/>
                <a:gd name="connsiteX7" fmla="*/ 66727 w 2268528"/>
                <a:gd name="connsiteY7" fmla="*/ 1278029 h 1517176"/>
                <a:gd name="connsiteX8" fmla="*/ 157779 w 2268528"/>
                <a:gd name="connsiteY8" fmla="*/ 1428521 h 1517176"/>
                <a:gd name="connsiteX9" fmla="*/ 373432 w 2268528"/>
                <a:gd name="connsiteY9" fmla="*/ 1433025 h 1517176"/>
                <a:gd name="connsiteX10" fmla="*/ 447691 w 2268528"/>
                <a:gd name="connsiteY10" fmla="*/ 1362766 h 1517176"/>
                <a:gd name="connsiteX11" fmla="*/ 526055 w 2268528"/>
                <a:gd name="connsiteY11" fmla="*/ 1162435 h 1517176"/>
                <a:gd name="connsiteX12" fmla="*/ 601536 w 2268528"/>
                <a:gd name="connsiteY12" fmla="*/ 972425 h 1517176"/>
                <a:gd name="connsiteX13" fmla="*/ 666446 w 2268528"/>
                <a:gd name="connsiteY13" fmla="*/ 978776 h 1517176"/>
                <a:gd name="connsiteX14" fmla="*/ 907826 w 2268528"/>
                <a:gd name="connsiteY14" fmla="*/ 955684 h 1517176"/>
                <a:gd name="connsiteX15" fmla="*/ 931467 w 2268528"/>
                <a:gd name="connsiteY15" fmla="*/ 937562 h 1517176"/>
                <a:gd name="connsiteX16" fmla="*/ 1134571 w 2268528"/>
                <a:gd name="connsiteY16" fmla="*/ 937562 h 1517176"/>
                <a:gd name="connsiteX17" fmla="*/ 1337675 w 2268528"/>
                <a:gd name="connsiteY17" fmla="*/ 937562 h 1517176"/>
                <a:gd name="connsiteX18" fmla="*/ 1361289 w 2268528"/>
                <a:gd name="connsiteY18" fmla="*/ 955684 h 1517176"/>
                <a:gd name="connsiteX19" fmla="*/ 1602559 w 2268528"/>
                <a:gd name="connsiteY19" fmla="*/ 978845 h 1517176"/>
                <a:gd name="connsiteX20" fmla="*/ 1667387 w 2268528"/>
                <a:gd name="connsiteY20" fmla="*/ 972425 h 1517176"/>
                <a:gd name="connsiteX21" fmla="*/ 1706212 w 2268528"/>
                <a:gd name="connsiteY21" fmla="*/ 1063615 h 1517176"/>
                <a:gd name="connsiteX22" fmla="*/ 1732626 w 2268528"/>
                <a:gd name="connsiteY22" fmla="*/ 1160288 h 1517176"/>
                <a:gd name="connsiteX23" fmla="*/ 1699018 w 2268528"/>
                <a:gd name="connsiteY23" fmla="*/ 1179901 h 1517176"/>
                <a:gd name="connsiteX24" fmla="*/ 1648935 w 2268528"/>
                <a:gd name="connsiteY24" fmla="*/ 1099494 h 1517176"/>
                <a:gd name="connsiteX25" fmla="*/ 1625871 w 2268528"/>
                <a:gd name="connsiteY25" fmla="*/ 1037418 h 1517176"/>
                <a:gd name="connsiteX26" fmla="*/ 1597672 w 2268528"/>
                <a:gd name="connsiteY26" fmla="*/ 1046932 h 1517176"/>
                <a:gd name="connsiteX27" fmla="*/ 1422684 w 2268528"/>
                <a:gd name="connsiteY27" fmla="*/ 1052876 h 1517176"/>
                <a:gd name="connsiteX28" fmla="*/ 1332459 w 2268528"/>
                <a:gd name="connsiteY28" fmla="*/ 1011344 h 1517176"/>
                <a:gd name="connsiteX29" fmla="*/ 1311728 w 2268528"/>
                <a:gd name="connsiteY29" fmla="*/ 997154 h 1517176"/>
                <a:gd name="connsiteX30" fmla="*/ 1134571 w 2268528"/>
                <a:gd name="connsiteY30" fmla="*/ 997154 h 1517176"/>
                <a:gd name="connsiteX31" fmla="*/ 957387 w 2268528"/>
                <a:gd name="connsiteY31" fmla="*/ 997154 h 1517176"/>
                <a:gd name="connsiteX32" fmla="*/ 936656 w 2268528"/>
                <a:gd name="connsiteY32" fmla="*/ 1011344 h 1517176"/>
                <a:gd name="connsiteX33" fmla="*/ 846431 w 2268528"/>
                <a:gd name="connsiteY33" fmla="*/ 1052876 h 1517176"/>
                <a:gd name="connsiteX34" fmla="*/ 671773 w 2268528"/>
                <a:gd name="connsiteY34" fmla="*/ 1046720 h 1517176"/>
                <a:gd name="connsiteX35" fmla="*/ 644095 w 2268528"/>
                <a:gd name="connsiteY35" fmla="*/ 1038282 h 1517176"/>
                <a:gd name="connsiteX36" fmla="*/ 578169 w 2268528"/>
                <a:gd name="connsiteY36" fmla="*/ 1209964 h 1517176"/>
                <a:gd name="connsiteX37" fmla="*/ 498158 w 2268528"/>
                <a:gd name="connsiteY37" fmla="*/ 1403178 h 1517176"/>
                <a:gd name="connsiteX38" fmla="*/ 332036 w 2268528"/>
                <a:gd name="connsiteY38" fmla="*/ 1511499 h 1517176"/>
                <a:gd name="connsiteX39" fmla="*/ 200506 w 2268528"/>
                <a:gd name="connsiteY39" fmla="*/ 1509549 h 1517176"/>
                <a:gd name="connsiteX40" fmla="*/ 1935044 w 2268528"/>
                <a:gd name="connsiteY40" fmla="*/ 1511306 h 1517176"/>
                <a:gd name="connsiteX41" fmla="*/ 1770875 w 2268528"/>
                <a:gd name="connsiteY41" fmla="*/ 1403068 h 1517176"/>
                <a:gd name="connsiteX42" fmla="*/ 1714724 w 2268528"/>
                <a:gd name="connsiteY42" fmla="*/ 1254113 h 1517176"/>
                <a:gd name="connsiteX43" fmla="*/ 1767937 w 2268528"/>
                <a:gd name="connsiteY43" fmla="*/ 1241810 h 1517176"/>
                <a:gd name="connsiteX44" fmla="*/ 1792676 w 2268528"/>
                <a:gd name="connsiteY44" fmla="*/ 1295110 h 1517176"/>
                <a:gd name="connsiteX45" fmla="*/ 1853879 w 2268528"/>
                <a:gd name="connsiteY45" fmla="*/ 1401448 h 1517176"/>
                <a:gd name="connsiteX46" fmla="*/ 2001354 w 2268528"/>
                <a:gd name="connsiteY46" fmla="*/ 1457983 h 1517176"/>
                <a:gd name="connsiteX47" fmla="*/ 2202426 w 2268528"/>
                <a:gd name="connsiteY47" fmla="*/ 1278424 h 1517176"/>
                <a:gd name="connsiteX48" fmla="*/ 2034523 w 2268528"/>
                <a:gd name="connsiteY48" fmla="*/ 388577 h 1517176"/>
                <a:gd name="connsiteX49" fmla="*/ 1816152 w 2268528"/>
                <a:gd name="connsiteY49" fmla="*/ 192908 h 1517176"/>
                <a:gd name="connsiteX50" fmla="*/ 1553300 w 2268528"/>
                <a:gd name="connsiteY50" fmla="*/ 208510 h 1517176"/>
                <a:gd name="connsiteX51" fmla="*/ 1488473 w 2268528"/>
                <a:gd name="connsiteY51" fmla="*/ 244075 h 1517176"/>
                <a:gd name="connsiteX52" fmla="*/ 1463514 w 2268528"/>
                <a:gd name="connsiteY52" fmla="*/ 262088 h 1517176"/>
                <a:gd name="connsiteX53" fmla="*/ 1461592 w 2268528"/>
                <a:gd name="connsiteY53" fmla="*/ 298892 h 1517176"/>
                <a:gd name="connsiteX54" fmla="*/ 1395007 w 2268528"/>
                <a:gd name="connsiteY54" fmla="*/ 402923 h 1517176"/>
                <a:gd name="connsiteX55" fmla="*/ 1278394 w 2268528"/>
                <a:gd name="connsiteY55" fmla="*/ 413163 h 1517176"/>
                <a:gd name="connsiteX56" fmla="*/ 1170019 w 2268528"/>
                <a:gd name="connsiteY56" fmla="*/ 384664 h 1517176"/>
                <a:gd name="connsiteX57" fmla="*/ 1269718 w 2268528"/>
                <a:gd name="connsiteY57" fmla="*/ 356861 h 1517176"/>
                <a:gd name="connsiteX58" fmla="*/ 1367687 w 2268528"/>
                <a:gd name="connsiteY58" fmla="*/ 348780 h 1517176"/>
                <a:gd name="connsiteX59" fmla="*/ 1395996 w 2268528"/>
                <a:gd name="connsiteY59" fmla="*/ 298346 h 1517176"/>
                <a:gd name="connsiteX60" fmla="*/ 1395996 w 2268528"/>
                <a:gd name="connsiteY60" fmla="*/ 282063 h 1517176"/>
                <a:gd name="connsiteX61" fmla="*/ 1134571 w 2268528"/>
                <a:gd name="connsiteY61" fmla="*/ 282063 h 1517176"/>
                <a:gd name="connsiteX62" fmla="*/ 873120 w 2268528"/>
                <a:gd name="connsiteY62" fmla="*/ 282063 h 1517176"/>
                <a:gd name="connsiteX63" fmla="*/ 873120 w 2268528"/>
                <a:gd name="connsiteY63" fmla="*/ 298346 h 1517176"/>
                <a:gd name="connsiteX64" fmla="*/ 901428 w 2268528"/>
                <a:gd name="connsiteY64" fmla="*/ 348780 h 1517176"/>
                <a:gd name="connsiteX65" fmla="*/ 999425 w 2268528"/>
                <a:gd name="connsiteY65" fmla="*/ 356861 h 1517176"/>
                <a:gd name="connsiteX66" fmla="*/ 1099123 w 2268528"/>
                <a:gd name="connsiteY66" fmla="*/ 385353 h 1517176"/>
                <a:gd name="connsiteX67" fmla="*/ 989952 w 2268528"/>
                <a:gd name="connsiteY67" fmla="*/ 413163 h 1517176"/>
                <a:gd name="connsiteX68" fmla="*/ 874108 w 2268528"/>
                <a:gd name="connsiteY68" fmla="*/ 402923 h 1517176"/>
                <a:gd name="connsiteX69" fmla="*/ 807523 w 2268528"/>
                <a:gd name="connsiteY69" fmla="*/ 298892 h 1517176"/>
                <a:gd name="connsiteX70" fmla="*/ 805601 w 2268528"/>
                <a:gd name="connsiteY70" fmla="*/ 262088 h 1517176"/>
                <a:gd name="connsiteX71" fmla="*/ 780642 w 2268528"/>
                <a:gd name="connsiteY71" fmla="*/ 244075 h 1517176"/>
                <a:gd name="connsiteX72" fmla="*/ 715815 w 2268528"/>
                <a:gd name="connsiteY72" fmla="*/ 208510 h 1517176"/>
                <a:gd name="connsiteX73" fmla="*/ 452963 w 2268528"/>
                <a:gd name="connsiteY73" fmla="*/ 192908 h 1517176"/>
                <a:gd name="connsiteX74" fmla="*/ 235015 w 2268528"/>
                <a:gd name="connsiteY74" fmla="*/ 387635 h 1517176"/>
                <a:gd name="connsiteX75" fmla="*/ 197958 w 2268528"/>
                <a:gd name="connsiteY75" fmla="*/ 561464 h 1517176"/>
                <a:gd name="connsiteX76" fmla="*/ 161922 w 2268528"/>
                <a:gd name="connsiteY76" fmla="*/ 719084 h 1517176"/>
                <a:gd name="connsiteX77" fmla="*/ 106557 w 2268528"/>
                <a:gd name="connsiteY77" fmla="*/ 700721 h 1517176"/>
                <a:gd name="connsiteX78" fmla="*/ 169251 w 2268528"/>
                <a:gd name="connsiteY78" fmla="*/ 378376 h 1517176"/>
                <a:gd name="connsiteX79" fmla="*/ 384604 w 2268528"/>
                <a:gd name="connsiteY79" fmla="*/ 153424 h 1517176"/>
                <a:gd name="connsiteX80" fmla="*/ 407869 w 2268528"/>
                <a:gd name="connsiteY80" fmla="*/ 142883 h 1517176"/>
                <a:gd name="connsiteX81" fmla="*/ 407894 w 2268528"/>
                <a:gd name="connsiteY81" fmla="*/ 110176 h 1517176"/>
                <a:gd name="connsiteX82" fmla="*/ 433632 w 2268528"/>
                <a:gd name="connsiteY82" fmla="*/ 30878 h 1517176"/>
                <a:gd name="connsiteX83" fmla="*/ 569905 w 2268528"/>
                <a:gd name="connsiteY83" fmla="*/ 87 h 1517176"/>
                <a:gd name="connsiteX84" fmla="*/ 678445 w 2268528"/>
                <a:gd name="connsiteY84" fmla="*/ 10924 h 1517176"/>
                <a:gd name="connsiteX85" fmla="*/ 715787 w 2268528"/>
                <a:gd name="connsiteY85" fmla="*/ 39058 h 1517176"/>
                <a:gd name="connsiteX86" fmla="*/ 730587 w 2268528"/>
                <a:gd name="connsiteY86" fmla="*/ 101288 h 1517176"/>
                <a:gd name="connsiteX87" fmla="*/ 732070 w 2268528"/>
                <a:gd name="connsiteY87" fmla="*/ 146304 h 1517176"/>
                <a:gd name="connsiteX88" fmla="*/ 766639 w 2268528"/>
                <a:gd name="connsiteY88" fmla="*/ 164303 h 1517176"/>
                <a:gd name="connsiteX89" fmla="*/ 828089 w 2268528"/>
                <a:gd name="connsiteY89" fmla="*/ 202387 h 1517176"/>
                <a:gd name="connsiteX90" fmla="*/ 855025 w 2268528"/>
                <a:gd name="connsiteY90" fmla="*/ 222472 h 1517176"/>
                <a:gd name="connsiteX91" fmla="*/ 1134571 w 2268528"/>
                <a:gd name="connsiteY91" fmla="*/ 222472 h 1517176"/>
                <a:gd name="connsiteX92" fmla="*/ 1414090 w 2268528"/>
                <a:gd name="connsiteY92" fmla="*/ 222472 h 1517176"/>
                <a:gd name="connsiteX93" fmla="*/ 1440779 w 2268528"/>
                <a:gd name="connsiteY93" fmla="*/ 202568 h 1517176"/>
                <a:gd name="connsiteX94" fmla="*/ 1502229 w 2268528"/>
                <a:gd name="connsiteY94" fmla="*/ 164673 h 1517176"/>
                <a:gd name="connsiteX95" fmla="*/ 1537018 w 2268528"/>
                <a:gd name="connsiteY95" fmla="*/ 146683 h 1517176"/>
                <a:gd name="connsiteX96" fmla="*/ 1538501 w 2268528"/>
                <a:gd name="connsiteY96" fmla="*/ 101477 h 1517176"/>
                <a:gd name="connsiteX97" fmla="*/ 1553328 w 2268528"/>
                <a:gd name="connsiteY97" fmla="*/ 39058 h 1517176"/>
                <a:gd name="connsiteX98" fmla="*/ 1590670 w 2268528"/>
                <a:gd name="connsiteY98" fmla="*/ 10924 h 1517176"/>
                <a:gd name="connsiteX99" fmla="*/ 1699210 w 2268528"/>
                <a:gd name="connsiteY99" fmla="*/ 87 h 1517176"/>
                <a:gd name="connsiteX100" fmla="*/ 1835482 w 2268528"/>
                <a:gd name="connsiteY100" fmla="*/ 30878 h 1517176"/>
                <a:gd name="connsiteX101" fmla="*/ 1861210 w 2268528"/>
                <a:gd name="connsiteY101" fmla="*/ 110176 h 1517176"/>
                <a:gd name="connsiteX102" fmla="*/ 1861238 w 2268528"/>
                <a:gd name="connsiteY102" fmla="*/ 142883 h 1517176"/>
                <a:gd name="connsiteX103" fmla="*/ 1884522 w 2268528"/>
                <a:gd name="connsiteY103" fmla="*/ 153424 h 1517176"/>
                <a:gd name="connsiteX104" fmla="*/ 2041003 w 2268528"/>
                <a:gd name="connsiteY104" fmla="*/ 272415 h 1517176"/>
                <a:gd name="connsiteX105" fmla="*/ 2104787 w 2268528"/>
                <a:gd name="connsiteY105" fmla="*/ 395285 h 1517176"/>
                <a:gd name="connsiteX106" fmla="*/ 2268819 w 2268528"/>
                <a:gd name="connsiteY106" fmla="*/ 1280132 h 1517176"/>
                <a:gd name="connsiteX107" fmla="*/ 2239247 w 2268528"/>
                <a:gd name="connsiteY107" fmla="*/ 1385970 h 1517176"/>
                <a:gd name="connsiteX108" fmla="*/ 2128510 w 2268528"/>
                <a:gd name="connsiteY108" fmla="*/ 1488928 h 1517176"/>
                <a:gd name="connsiteX109" fmla="*/ 1935044 w 2268528"/>
                <a:gd name="connsiteY109" fmla="*/ 1511306 h 1517176"/>
                <a:gd name="connsiteX110" fmla="*/ 664881 w 2268528"/>
                <a:gd name="connsiteY110" fmla="*/ 101301 h 1517176"/>
                <a:gd name="connsiteX111" fmla="*/ 571003 w 2268528"/>
                <a:gd name="connsiteY111" fmla="*/ 59588 h 1517176"/>
                <a:gd name="connsiteX112" fmla="*/ 484594 w 2268528"/>
                <a:gd name="connsiteY112" fmla="*/ 68226 h 1517176"/>
                <a:gd name="connsiteX113" fmla="*/ 474325 w 2268528"/>
                <a:gd name="connsiteY113" fmla="*/ 100324 h 1517176"/>
                <a:gd name="connsiteX114" fmla="*/ 474325 w 2268528"/>
                <a:gd name="connsiteY114" fmla="*/ 123786 h 1517176"/>
                <a:gd name="connsiteX115" fmla="*/ 504253 w 2268528"/>
                <a:gd name="connsiteY115" fmla="*/ 120489 h 1517176"/>
                <a:gd name="connsiteX116" fmla="*/ 636078 w 2268528"/>
                <a:gd name="connsiteY116" fmla="*/ 122523 h 1517176"/>
                <a:gd name="connsiteX117" fmla="*/ 664881 w 2268528"/>
                <a:gd name="connsiteY117" fmla="*/ 101304 h 1517176"/>
                <a:gd name="connsiteX118" fmla="*/ 1665520 w 2268528"/>
                <a:gd name="connsiteY118" fmla="*/ 118715 h 1517176"/>
                <a:gd name="connsiteX119" fmla="*/ 1745586 w 2268528"/>
                <a:gd name="connsiteY119" fmla="*/ 118701 h 1517176"/>
                <a:gd name="connsiteX120" fmla="*/ 1789546 w 2268528"/>
                <a:gd name="connsiteY120" fmla="*/ 123152 h 1517176"/>
                <a:gd name="connsiteX121" fmla="*/ 1785592 w 2268528"/>
                <a:gd name="connsiteY121" fmla="*/ 70057 h 1517176"/>
                <a:gd name="connsiteX122" fmla="*/ 1776421 w 2268528"/>
                <a:gd name="connsiteY122" fmla="*/ 59588 h 1517176"/>
                <a:gd name="connsiteX123" fmla="*/ 1699183 w 2268528"/>
                <a:gd name="connsiteY123" fmla="*/ 59588 h 1517176"/>
                <a:gd name="connsiteX124" fmla="*/ 1604262 w 2268528"/>
                <a:gd name="connsiteY124" fmla="*/ 101765 h 1517176"/>
                <a:gd name="connsiteX125" fmla="*/ 1614229 w 2268528"/>
                <a:gd name="connsiteY125" fmla="*/ 125615 h 1517176"/>
                <a:gd name="connsiteX126" fmla="*/ 1665520 w 2268528"/>
                <a:gd name="connsiteY126" fmla="*/ 118715 h 1517176"/>
                <a:gd name="connsiteX127" fmla="*/ 737561 w 2268528"/>
                <a:gd name="connsiteY127" fmla="*/ 935154 h 1517176"/>
                <a:gd name="connsiteX128" fmla="*/ 656122 w 2268528"/>
                <a:gd name="connsiteY128" fmla="*/ 872482 h 1517176"/>
                <a:gd name="connsiteX129" fmla="*/ 640883 w 2268528"/>
                <a:gd name="connsiteY129" fmla="*/ 817012 h 1517176"/>
                <a:gd name="connsiteX130" fmla="*/ 769000 w 2268528"/>
                <a:gd name="connsiteY130" fmla="*/ 696201 h 1517176"/>
                <a:gd name="connsiteX131" fmla="*/ 912054 w 2268528"/>
                <a:gd name="connsiteY131" fmla="*/ 808662 h 1517176"/>
                <a:gd name="connsiteX132" fmla="*/ 877266 w 2268528"/>
                <a:gd name="connsiteY132" fmla="*/ 899344 h 1517176"/>
                <a:gd name="connsiteX133" fmla="*/ 737561 w 2268528"/>
                <a:gd name="connsiteY133" fmla="*/ 935154 h 1517176"/>
                <a:gd name="connsiteX134" fmla="*/ 814937 w 2268528"/>
                <a:gd name="connsiteY134" fmla="*/ 871093 h 1517176"/>
                <a:gd name="connsiteX135" fmla="*/ 846540 w 2268528"/>
                <a:gd name="connsiteY135" fmla="*/ 819387 h 1517176"/>
                <a:gd name="connsiteX136" fmla="*/ 782317 w 2268528"/>
                <a:gd name="connsiteY136" fmla="*/ 755647 h 1517176"/>
                <a:gd name="connsiteX137" fmla="*/ 706616 w 2268528"/>
                <a:gd name="connsiteY137" fmla="*/ 810796 h 1517176"/>
                <a:gd name="connsiteX138" fmla="*/ 814937 w 2268528"/>
                <a:gd name="connsiteY138" fmla="*/ 871093 h 1517176"/>
                <a:gd name="connsiteX139" fmla="*/ 1461290 w 2268528"/>
                <a:gd name="connsiteY139" fmla="*/ 937214 h 1517176"/>
                <a:gd name="connsiteX140" fmla="*/ 1390257 w 2268528"/>
                <a:gd name="connsiteY140" fmla="*/ 897916 h 1517176"/>
                <a:gd name="connsiteX141" fmla="*/ 1357061 w 2268528"/>
                <a:gd name="connsiteY141" fmla="*/ 808662 h 1517176"/>
                <a:gd name="connsiteX142" fmla="*/ 1618897 w 2268528"/>
                <a:gd name="connsiteY142" fmla="*/ 770222 h 1517176"/>
                <a:gd name="connsiteX143" fmla="*/ 1628232 w 2268528"/>
                <a:gd name="connsiteY143" fmla="*/ 817012 h 1517176"/>
                <a:gd name="connsiteX144" fmla="*/ 1612993 w 2268528"/>
                <a:gd name="connsiteY144" fmla="*/ 872482 h 1517176"/>
                <a:gd name="connsiteX145" fmla="*/ 1461290 w 2268528"/>
                <a:gd name="connsiteY145" fmla="*/ 937214 h 1517176"/>
                <a:gd name="connsiteX146" fmla="*/ 1524662 w 2268528"/>
                <a:gd name="connsiteY146" fmla="*/ 872798 h 1517176"/>
                <a:gd name="connsiteX147" fmla="*/ 1548633 w 2268528"/>
                <a:gd name="connsiteY147" fmla="*/ 780005 h 1517176"/>
                <a:gd name="connsiteX148" fmla="*/ 1493250 w 2268528"/>
                <a:gd name="connsiteY148" fmla="*/ 754818 h 1517176"/>
                <a:gd name="connsiteX149" fmla="*/ 1423645 w 2268528"/>
                <a:gd name="connsiteY149" fmla="*/ 808577 h 1517176"/>
                <a:gd name="connsiteX150" fmla="*/ 1438967 w 2268528"/>
                <a:gd name="connsiteY150" fmla="*/ 858328 h 1517176"/>
                <a:gd name="connsiteX151" fmla="*/ 1524662 w 2268528"/>
                <a:gd name="connsiteY151" fmla="*/ 872798 h 1517176"/>
                <a:gd name="connsiteX152" fmla="*/ 1686086 w 2268528"/>
                <a:gd name="connsiteY152" fmla="*/ 721446 h 1517176"/>
                <a:gd name="connsiteX153" fmla="*/ 1636277 w 2268528"/>
                <a:gd name="connsiteY153" fmla="*/ 675482 h 1517176"/>
                <a:gd name="connsiteX154" fmla="*/ 1636277 w 2268528"/>
                <a:gd name="connsiteY154" fmla="*/ 607705 h 1517176"/>
                <a:gd name="connsiteX155" fmla="*/ 1687047 w 2268528"/>
                <a:gd name="connsiteY155" fmla="*/ 561571 h 1517176"/>
                <a:gd name="connsiteX156" fmla="*/ 1723895 w 2268528"/>
                <a:gd name="connsiteY156" fmla="*/ 556181 h 1517176"/>
                <a:gd name="connsiteX157" fmla="*/ 1767278 w 2268528"/>
                <a:gd name="connsiteY157" fmla="*/ 719428 h 1517176"/>
                <a:gd name="connsiteX158" fmla="*/ 1686086 w 2268528"/>
                <a:gd name="connsiteY158" fmla="*/ 721446 h 1517176"/>
                <a:gd name="connsiteX159" fmla="*/ 1746794 w 2268528"/>
                <a:gd name="connsiteY159" fmla="*/ 660841 h 1517176"/>
                <a:gd name="connsiteX160" fmla="*/ 1747563 w 2268528"/>
                <a:gd name="connsiteY160" fmla="*/ 623038 h 1517176"/>
                <a:gd name="connsiteX161" fmla="*/ 1702066 w 2268528"/>
                <a:gd name="connsiteY161" fmla="*/ 626239 h 1517176"/>
                <a:gd name="connsiteX162" fmla="*/ 1692867 w 2268528"/>
                <a:gd name="connsiteY162" fmla="*/ 641594 h 1517176"/>
                <a:gd name="connsiteX163" fmla="*/ 1702066 w 2268528"/>
                <a:gd name="connsiteY163" fmla="*/ 656951 h 1517176"/>
                <a:gd name="connsiteX164" fmla="*/ 1746794 w 2268528"/>
                <a:gd name="connsiteY164" fmla="*/ 660841 h 1517176"/>
                <a:gd name="connsiteX165" fmla="*/ 525286 w 2268528"/>
                <a:gd name="connsiteY165" fmla="*/ 679817 h 1517176"/>
                <a:gd name="connsiteX166" fmla="*/ 463479 w 2268528"/>
                <a:gd name="connsiteY166" fmla="*/ 605322 h 1517176"/>
                <a:gd name="connsiteX167" fmla="*/ 439398 w 2268528"/>
                <a:gd name="connsiteY167" fmla="*/ 586412 h 1517176"/>
                <a:gd name="connsiteX168" fmla="*/ 354725 w 2268528"/>
                <a:gd name="connsiteY168" fmla="*/ 516541 h 1517176"/>
                <a:gd name="connsiteX169" fmla="*/ 442611 w 2268528"/>
                <a:gd name="connsiteY169" fmla="*/ 402871 h 1517176"/>
                <a:gd name="connsiteX170" fmla="*/ 463479 w 2268528"/>
                <a:gd name="connsiteY170" fmla="*/ 383895 h 1517176"/>
                <a:gd name="connsiteX171" fmla="*/ 578554 w 2268528"/>
                <a:gd name="connsiteY171" fmla="*/ 303304 h 1517176"/>
                <a:gd name="connsiteX172" fmla="*/ 641322 w 2268528"/>
                <a:gd name="connsiteY172" fmla="*/ 330342 h 1517176"/>
                <a:gd name="connsiteX173" fmla="*/ 669192 w 2268528"/>
                <a:gd name="connsiteY173" fmla="*/ 387822 h 1517176"/>
                <a:gd name="connsiteX174" fmla="*/ 690663 w 2268528"/>
                <a:gd name="connsiteY174" fmla="*/ 402761 h 1517176"/>
                <a:gd name="connsiteX175" fmla="*/ 765348 w 2268528"/>
                <a:gd name="connsiteY175" fmla="*/ 445285 h 1517176"/>
                <a:gd name="connsiteX176" fmla="*/ 774546 w 2268528"/>
                <a:gd name="connsiteY176" fmla="*/ 528531 h 1517176"/>
                <a:gd name="connsiteX177" fmla="*/ 683689 w 2268528"/>
                <a:gd name="connsiteY177" fmla="*/ 587925 h 1517176"/>
                <a:gd name="connsiteX178" fmla="*/ 669301 w 2268528"/>
                <a:gd name="connsiteY178" fmla="*/ 598427 h 1517176"/>
                <a:gd name="connsiteX179" fmla="*/ 600108 w 2268528"/>
                <a:gd name="connsiteY179" fmla="*/ 682426 h 1517176"/>
                <a:gd name="connsiteX180" fmla="*/ 525286 w 2268528"/>
                <a:gd name="connsiteY180" fmla="*/ 679817 h 1517176"/>
                <a:gd name="connsiteX181" fmla="*/ 590114 w 2268528"/>
                <a:gd name="connsiteY181" fmla="*/ 620135 h 1517176"/>
                <a:gd name="connsiteX182" fmla="*/ 603074 w 2268528"/>
                <a:gd name="connsiteY182" fmla="*/ 577851 h 1517176"/>
                <a:gd name="connsiteX183" fmla="*/ 658922 w 2268528"/>
                <a:gd name="connsiteY183" fmla="*/ 528372 h 1517176"/>
                <a:gd name="connsiteX184" fmla="*/ 702745 w 2268528"/>
                <a:gd name="connsiteY184" fmla="*/ 518619 h 1517176"/>
                <a:gd name="connsiteX185" fmla="*/ 705381 w 2268528"/>
                <a:gd name="connsiteY185" fmla="*/ 472471 h 1517176"/>
                <a:gd name="connsiteX186" fmla="*/ 659005 w 2268528"/>
                <a:gd name="connsiteY186" fmla="*/ 461093 h 1517176"/>
                <a:gd name="connsiteX187" fmla="*/ 603046 w 2268528"/>
                <a:gd name="connsiteY187" fmla="*/ 410884 h 1517176"/>
                <a:gd name="connsiteX188" fmla="*/ 590114 w 2268528"/>
                <a:gd name="connsiteY188" fmla="*/ 369074 h 1517176"/>
                <a:gd name="connsiteX189" fmla="*/ 542255 w 2268528"/>
                <a:gd name="connsiteY189" fmla="*/ 371020 h 1517176"/>
                <a:gd name="connsiteX190" fmla="*/ 528279 w 2268528"/>
                <a:gd name="connsiteY190" fmla="*/ 411740 h 1517176"/>
                <a:gd name="connsiteX191" fmla="*/ 475423 w 2268528"/>
                <a:gd name="connsiteY191" fmla="*/ 460834 h 1517176"/>
                <a:gd name="connsiteX192" fmla="*/ 429679 w 2268528"/>
                <a:gd name="connsiteY192" fmla="*/ 472449 h 1517176"/>
                <a:gd name="connsiteX193" fmla="*/ 429679 w 2268528"/>
                <a:gd name="connsiteY193" fmla="*/ 516760 h 1517176"/>
                <a:gd name="connsiteX194" fmla="*/ 473391 w 2268528"/>
                <a:gd name="connsiteY194" fmla="*/ 528372 h 1517176"/>
                <a:gd name="connsiteX195" fmla="*/ 528169 w 2268528"/>
                <a:gd name="connsiteY195" fmla="*/ 575698 h 1517176"/>
                <a:gd name="connsiteX196" fmla="*/ 540470 w 2268528"/>
                <a:gd name="connsiteY196" fmla="*/ 617456 h 1517176"/>
                <a:gd name="connsiteX197" fmla="*/ 590114 w 2268528"/>
                <a:gd name="connsiteY197" fmla="*/ 620135 h 1517176"/>
                <a:gd name="connsiteX198" fmla="*/ 923257 w 2268528"/>
                <a:gd name="connsiteY198" fmla="*/ 607953 h 1517176"/>
                <a:gd name="connsiteX199" fmla="*/ 913180 w 2268528"/>
                <a:gd name="connsiteY199" fmla="*/ 560904 h 1517176"/>
                <a:gd name="connsiteX200" fmla="*/ 986300 w 2268528"/>
                <a:gd name="connsiteY200" fmla="*/ 552208 h 1517176"/>
                <a:gd name="connsiteX201" fmla="*/ 1059227 w 2268528"/>
                <a:gd name="connsiteY201" fmla="*/ 560154 h 1517176"/>
                <a:gd name="connsiteX202" fmla="*/ 1059639 w 2268528"/>
                <a:gd name="connsiteY202" fmla="*/ 600435 h 1517176"/>
                <a:gd name="connsiteX203" fmla="*/ 992066 w 2268528"/>
                <a:gd name="connsiteY203" fmla="*/ 610709 h 1517176"/>
                <a:gd name="connsiteX204" fmla="*/ 923257 w 2268528"/>
                <a:gd name="connsiteY204" fmla="*/ 607953 h 1517176"/>
                <a:gd name="connsiteX205" fmla="*/ 1220157 w 2268528"/>
                <a:gd name="connsiteY205" fmla="*/ 607953 h 1517176"/>
                <a:gd name="connsiteX206" fmla="*/ 1209888 w 2268528"/>
                <a:gd name="connsiteY206" fmla="*/ 560154 h 1517176"/>
                <a:gd name="connsiteX207" fmla="*/ 1282815 w 2268528"/>
                <a:gd name="connsiteY207" fmla="*/ 552208 h 1517176"/>
                <a:gd name="connsiteX208" fmla="*/ 1355935 w 2268528"/>
                <a:gd name="connsiteY208" fmla="*/ 560904 h 1517176"/>
                <a:gd name="connsiteX209" fmla="*/ 1356511 w 2268528"/>
                <a:gd name="connsiteY209" fmla="*/ 600435 h 1517176"/>
                <a:gd name="connsiteX210" fmla="*/ 1288938 w 2268528"/>
                <a:gd name="connsiteY210" fmla="*/ 610709 h 1517176"/>
                <a:gd name="connsiteX211" fmla="*/ 1220157 w 2268528"/>
                <a:gd name="connsiteY211" fmla="*/ 607953 h 1517176"/>
                <a:gd name="connsiteX212" fmla="*/ 1522136 w 2268528"/>
                <a:gd name="connsiteY212" fmla="*/ 574454 h 1517176"/>
                <a:gd name="connsiteX213" fmla="*/ 1472904 w 2268528"/>
                <a:gd name="connsiteY213" fmla="*/ 529613 h 1517176"/>
                <a:gd name="connsiteX214" fmla="*/ 1471010 w 2268528"/>
                <a:gd name="connsiteY214" fmla="*/ 463523 h 1517176"/>
                <a:gd name="connsiteX215" fmla="*/ 1522246 w 2268528"/>
                <a:gd name="connsiteY215" fmla="*/ 416597 h 1517176"/>
                <a:gd name="connsiteX216" fmla="*/ 1561180 w 2268528"/>
                <a:gd name="connsiteY216" fmla="*/ 409277 h 1517176"/>
                <a:gd name="connsiteX217" fmla="*/ 1603328 w 2268528"/>
                <a:gd name="connsiteY217" fmla="*/ 572436 h 1517176"/>
                <a:gd name="connsiteX218" fmla="*/ 1522136 w 2268528"/>
                <a:gd name="connsiteY218" fmla="*/ 574454 h 1517176"/>
                <a:gd name="connsiteX219" fmla="*/ 1583202 w 2268528"/>
                <a:gd name="connsiteY219" fmla="*/ 513248 h 1517176"/>
                <a:gd name="connsiteX220" fmla="*/ 1583613 w 2268528"/>
                <a:gd name="connsiteY220" fmla="*/ 476046 h 1517176"/>
                <a:gd name="connsiteX221" fmla="*/ 1562142 w 2268528"/>
                <a:gd name="connsiteY221" fmla="*/ 468781 h 1517176"/>
                <a:gd name="connsiteX222" fmla="*/ 1553135 w 2268528"/>
                <a:gd name="connsiteY222" fmla="*/ 520349 h 1517176"/>
                <a:gd name="connsiteX223" fmla="*/ 1583202 w 2268528"/>
                <a:gd name="connsiteY223" fmla="*/ 513248 h 1517176"/>
                <a:gd name="connsiteX224" fmla="*/ 1844159 w 2268528"/>
                <a:gd name="connsiteY224" fmla="*/ 571442 h 1517176"/>
                <a:gd name="connsiteX225" fmla="*/ 1794900 w 2268528"/>
                <a:gd name="connsiteY225" fmla="*/ 512886 h 1517176"/>
                <a:gd name="connsiteX226" fmla="*/ 1887460 w 2268528"/>
                <a:gd name="connsiteY226" fmla="*/ 409189 h 1517176"/>
                <a:gd name="connsiteX227" fmla="*/ 1931227 w 2268528"/>
                <a:gd name="connsiteY227" fmla="*/ 572436 h 1517176"/>
                <a:gd name="connsiteX228" fmla="*/ 1844159 w 2268528"/>
                <a:gd name="connsiteY228" fmla="*/ 571442 h 1517176"/>
                <a:gd name="connsiteX229" fmla="*/ 1911101 w 2268528"/>
                <a:gd name="connsiteY229" fmla="*/ 513248 h 1517176"/>
                <a:gd name="connsiteX230" fmla="*/ 1911787 w 2268528"/>
                <a:gd name="connsiteY230" fmla="*/ 477394 h 1517176"/>
                <a:gd name="connsiteX231" fmla="*/ 1864368 w 2268528"/>
                <a:gd name="connsiteY231" fmla="*/ 481439 h 1517176"/>
                <a:gd name="connsiteX232" fmla="*/ 1861046 w 2268528"/>
                <a:gd name="connsiteY232" fmla="*/ 504086 h 1517176"/>
                <a:gd name="connsiteX233" fmla="*/ 1911101 w 2268528"/>
                <a:gd name="connsiteY233" fmla="*/ 513248 h 1517176"/>
                <a:gd name="connsiteX234" fmla="*/ 1706157 w 2268528"/>
                <a:gd name="connsiteY234" fmla="*/ 432278 h 1517176"/>
                <a:gd name="connsiteX235" fmla="*/ 1629907 w 2268528"/>
                <a:gd name="connsiteY235" fmla="*/ 348631 h 1517176"/>
                <a:gd name="connsiteX236" fmla="*/ 1653768 w 2268528"/>
                <a:gd name="connsiteY236" fmla="*/ 291811 h 1517176"/>
                <a:gd name="connsiteX237" fmla="*/ 1821259 w 2268528"/>
                <a:gd name="connsiteY237" fmla="*/ 346748 h 1517176"/>
                <a:gd name="connsiteX238" fmla="*/ 1706157 w 2268528"/>
                <a:gd name="connsiteY238" fmla="*/ 432278 h 1517176"/>
                <a:gd name="connsiteX239" fmla="*/ 1747151 w 2268528"/>
                <a:gd name="connsiteY239" fmla="*/ 366391 h 1517176"/>
                <a:gd name="connsiteX240" fmla="*/ 1747563 w 2268528"/>
                <a:gd name="connsiteY240" fmla="*/ 329054 h 1517176"/>
                <a:gd name="connsiteX241" fmla="*/ 1697920 w 2268528"/>
                <a:gd name="connsiteY241" fmla="*/ 359172 h 1517176"/>
                <a:gd name="connsiteX242" fmla="*/ 1747151 w 2268528"/>
                <a:gd name="connsiteY242" fmla="*/ 366391 h 151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</a:cxnLst>
              <a:rect l="l" t="t" r="r" b="b"/>
              <a:pathLst>
                <a:path w="2268528" h="1517176">
                  <a:moveTo>
                    <a:pt x="200506" y="1509549"/>
                  </a:moveTo>
                  <a:cubicBezTo>
                    <a:pt x="152483" y="1498264"/>
                    <a:pt x="117738" y="1480005"/>
                    <a:pt x="79852" y="1446122"/>
                  </a:cubicBezTo>
                  <a:cubicBezTo>
                    <a:pt x="29168" y="1400789"/>
                    <a:pt x="513" y="1340901"/>
                    <a:pt x="290" y="1279860"/>
                  </a:cubicBezTo>
                  <a:cubicBezTo>
                    <a:pt x="224" y="1262081"/>
                    <a:pt x="80544" y="818056"/>
                    <a:pt x="86419" y="803715"/>
                  </a:cubicBezTo>
                  <a:cubicBezTo>
                    <a:pt x="87488" y="801112"/>
                    <a:pt x="93369" y="796037"/>
                    <a:pt x="99495" y="792440"/>
                  </a:cubicBezTo>
                  <a:cubicBezTo>
                    <a:pt x="115052" y="783300"/>
                    <a:pt x="135829" y="787937"/>
                    <a:pt x="144177" y="802407"/>
                  </a:cubicBezTo>
                  <a:cubicBezTo>
                    <a:pt x="150110" y="812699"/>
                    <a:pt x="147304" y="831290"/>
                    <a:pt x="108696" y="1037461"/>
                  </a:cubicBezTo>
                  <a:cubicBezTo>
                    <a:pt x="85640" y="1160595"/>
                    <a:pt x="66752" y="1268852"/>
                    <a:pt x="66727" y="1278029"/>
                  </a:cubicBezTo>
                  <a:cubicBezTo>
                    <a:pt x="66565" y="1336017"/>
                    <a:pt x="103803" y="1397549"/>
                    <a:pt x="157779" y="1428521"/>
                  </a:cubicBezTo>
                  <a:cubicBezTo>
                    <a:pt x="223219" y="1466056"/>
                    <a:pt x="307223" y="1467813"/>
                    <a:pt x="373432" y="1433025"/>
                  </a:cubicBezTo>
                  <a:cubicBezTo>
                    <a:pt x="397754" y="1420229"/>
                    <a:pt x="435060" y="1384930"/>
                    <a:pt x="447691" y="1362766"/>
                  </a:cubicBezTo>
                  <a:cubicBezTo>
                    <a:pt x="453045" y="1353320"/>
                    <a:pt x="488328" y="1263172"/>
                    <a:pt x="526055" y="1162435"/>
                  </a:cubicBezTo>
                  <a:cubicBezTo>
                    <a:pt x="563782" y="1061698"/>
                    <a:pt x="597747" y="976195"/>
                    <a:pt x="601536" y="972425"/>
                  </a:cubicBezTo>
                  <a:cubicBezTo>
                    <a:pt x="614990" y="959064"/>
                    <a:pt x="624573" y="960003"/>
                    <a:pt x="666446" y="978776"/>
                  </a:cubicBezTo>
                  <a:cubicBezTo>
                    <a:pt x="753569" y="1017840"/>
                    <a:pt x="837232" y="1009836"/>
                    <a:pt x="907826" y="955684"/>
                  </a:cubicBezTo>
                  <a:lnTo>
                    <a:pt x="931467" y="937562"/>
                  </a:lnTo>
                  <a:lnTo>
                    <a:pt x="1134571" y="937562"/>
                  </a:lnTo>
                  <a:lnTo>
                    <a:pt x="1337675" y="937562"/>
                  </a:lnTo>
                  <a:lnTo>
                    <a:pt x="1361289" y="955684"/>
                  </a:lnTo>
                  <a:cubicBezTo>
                    <a:pt x="1431910" y="1009861"/>
                    <a:pt x="1516232" y="1017953"/>
                    <a:pt x="1602559" y="978845"/>
                  </a:cubicBezTo>
                  <a:cubicBezTo>
                    <a:pt x="1644378" y="959904"/>
                    <a:pt x="1654207" y="958935"/>
                    <a:pt x="1667387" y="972425"/>
                  </a:cubicBezTo>
                  <a:cubicBezTo>
                    <a:pt x="1671066" y="976195"/>
                    <a:pt x="1688529" y="1017231"/>
                    <a:pt x="1706212" y="1063615"/>
                  </a:cubicBezTo>
                  <a:cubicBezTo>
                    <a:pt x="1736003" y="1141869"/>
                    <a:pt x="1737926" y="1148843"/>
                    <a:pt x="1732626" y="1160288"/>
                  </a:cubicBezTo>
                  <a:cubicBezTo>
                    <a:pt x="1727244" y="1171952"/>
                    <a:pt x="1713625" y="1179901"/>
                    <a:pt x="1699018" y="1179901"/>
                  </a:cubicBezTo>
                  <a:cubicBezTo>
                    <a:pt x="1683779" y="1179901"/>
                    <a:pt x="1671505" y="1160197"/>
                    <a:pt x="1648935" y="1099494"/>
                  </a:cubicBezTo>
                  <a:lnTo>
                    <a:pt x="1625871" y="1037418"/>
                  </a:lnTo>
                  <a:lnTo>
                    <a:pt x="1597672" y="1046932"/>
                  </a:lnTo>
                  <a:cubicBezTo>
                    <a:pt x="1546299" y="1064274"/>
                    <a:pt x="1478533" y="1066575"/>
                    <a:pt x="1422684" y="1052876"/>
                  </a:cubicBezTo>
                  <a:cubicBezTo>
                    <a:pt x="1396188" y="1046380"/>
                    <a:pt x="1357884" y="1028738"/>
                    <a:pt x="1332459" y="1011344"/>
                  </a:cubicBezTo>
                  <a:lnTo>
                    <a:pt x="1311728" y="997154"/>
                  </a:lnTo>
                  <a:lnTo>
                    <a:pt x="1134571" y="997154"/>
                  </a:lnTo>
                  <a:lnTo>
                    <a:pt x="957387" y="997154"/>
                  </a:lnTo>
                  <a:lnTo>
                    <a:pt x="936656" y="1011344"/>
                  </a:lnTo>
                  <a:cubicBezTo>
                    <a:pt x="911231" y="1028738"/>
                    <a:pt x="872927" y="1046380"/>
                    <a:pt x="846431" y="1052876"/>
                  </a:cubicBezTo>
                  <a:cubicBezTo>
                    <a:pt x="790362" y="1066627"/>
                    <a:pt x="719878" y="1064145"/>
                    <a:pt x="671773" y="1046720"/>
                  </a:cubicBezTo>
                  <a:cubicBezTo>
                    <a:pt x="657248" y="1041462"/>
                    <a:pt x="644809" y="1037665"/>
                    <a:pt x="644095" y="1038282"/>
                  </a:cubicBezTo>
                  <a:cubicBezTo>
                    <a:pt x="643409" y="1038900"/>
                    <a:pt x="613755" y="1116158"/>
                    <a:pt x="578169" y="1209964"/>
                  </a:cubicBezTo>
                  <a:cubicBezTo>
                    <a:pt x="535885" y="1321538"/>
                    <a:pt x="508207" y="1388354"/>
                    <a:pt x="498158" y="1403178"/>
                  </a:cubicBezTo>
                  <a:cubicBezTo>
                    <a:pt x="463671" y="1454084"/>
                    <a:pt x="396532" y="1497852"/>
                    <a:pt x="332036" y="1511499"/>
                  </a:cubicBezTo>
                  <a:cubicBezTo>
                    <a:pt x="293681" y="1519598"/>
                    <a:pt x="239886" y="1518802"/>
                    <a:pt x="200506" y="1509549"/>
                  </a:cubicBezTo>
                  <a:close/>
                  <a:moveTo>
                    <a:pt x="1935044" y="1511306"/>
                  </a:moveTo>
                  <a:cubicBezTo>
                    <a:pt x="1872303" y="1497687"/>
                    <a:pt x="1804867" y="1453206"/>
                    <a:pt x="1770875" y="1403068"/>
                  </a:cubicBezTo>
                  <a:cubicBezTo>
                    <a:pt x="1749403" y="1371346"/>
                    <a:pt x="1709672" y="1266013"/>
                    <a:pt x="1714724" y="1254113"/>
                  </a:cubicBezTo>
                  <a:cubicBezTo>
                    <a:pt x="1723291" y="1233926"/>
                    <a:pt x="1752396" y="1227197"/>
                    <a:pt x="1767937" y="1241810"/>
                  </a:cubicBezTo>
                  <a:cubicBezTo>
                    <a:pt x="1772385" y="1245997"/>
                    <a:pt x="1783505" y="1269984"/>
                    <a:pt x="1792676" y="1295110"/>
                  </a:cubicBezTo>
                  <a:cubicBezTo>
                    <a:pt x="1814340" y="1354562"/>
                    <a:pt x="1826202" y="1375204"/>
                    <a:pt x="1853879" y="1401448"/>
                  </a:cubicBezTo>
                  <a:cubicBezTo>
                    <a:pt x="1893830" y="1439312"/>
                    <a:pt x="1942540" y="1457983"/>
                    <a:pt x="2001354" y="1457983"/>
                  </a:cubicBezTo>
                  <a:cubicBezTo>
                    <a:pt x="2110444" y="1457983"/>
                    <a:pt x="2202426" y="1375830"/>
                    <a:pt x="2202426" y="1278424"/>
                  </a:cubicBezTo>
                  <a:cubicBezTo>
                    <a:pt x="2202426" y="1253281"/>
                    <a:pt x="2043859" y="412901"/>
                    <a:pt x="2034523" y="388577"/>
                  </a:cubicBezTo>
                  <a:cubicBezTo>
                    <a:pt x="1999789" y="298022"/>
                    <a:pt x="1915632" y="222626"/>
                    <a:pt x="1816152" y="192908"/>
                  </a:cubicBezTo>
                  <a:cubicBezTo>
                    <a:pt x="1726091" y="165997"/>
                    <a:pt x="1638007" y="171225"/>
                    <a:pt x="1553300" y="208510"/>
                  </a:cubicBezTo>
                  <a:cubicBezTo>
                    <a:pt x="1531361" y="218164"/>
                    <a:pt x="1502174" y="234169"/>
                    <a:pt x="1488473" y="244075"/>
                  </a:cubicBezTo>
                  <a:lnTo>
                    <a:pt x="1463514" y="262088"/>
                  </a:lnTo>
                  <a:lnTo>
                    <a:pt x="1461592" y="298892"/>
                  </a:lnTo>
                  <a:cubicBezTo>
                    <a:pt x="1458791" y="352231"/>
                    <a:pt x="1438912" y="383310"/>
                    <a:pt x="1395007" y="402923"/>
                  </a:cubicBezTo>
                  <a:cubicBezTo>
                    <a:pt x="1372547" y="412957"/>
                    <a:pt x="1370213" y="413163"/>
                    <a:pt x="1278394" y="413163"/>
                  </a:cubicBezTo>
                  <a:cubicBezTo>
                    <a:pt x="1173204" y="413163"/>
                    <a:pt x="1170019" y="412322"/>
                    <a:pt x="1170019" y="384664"/>
                  </a:cubicBezTo>
                  <a:cubicBezTo>
                    <a:pt x="1170019" y="359777"/>
                    <a:pt x="1175236" y="358321"/>
                    <a:pt x="1269718" y="356861"/>
                  </a:cubicBezTo>
                  <a:cubicBezTo>
                    <a:pt x="1338774" y="355792"/>
                    <a:pt x="1356374" y="354343"/>
                    <a:pt x="1367687" y="348780"/>
                  </a:cubicBezTo>
                  <a:cubicBezTo>
                    <a:pt x="1384573" y="340501"/>
                    <a:pt x="1395996" y="320128"/>
                    <a:pt x="1395996" y="298346"/>
                  </a:cubicBezTo>
                  <a:lnTo>
                    <a:pt x="1395996" y="282063"/>
                  </a:lnTo>
                  <a:lnTo>
                    <a:pt x="1134571" y="282063"/>
                  </a:lnTo>
                  <a:lnTo>
                    <a:pt x="873120" y="282063"/>
                  </a:lnTo>
                  <a:lnTo>
                    <a:pt x="873120" y="298346"/>
                  </a:lnTo>
                  <a:cubicBezTo>
                    <a:pt x="873120" y="320128"/>
                    <a:pt x="884542" y="340501"/>
                    <a:pt x="901428" y="348780"/>
                  </a:cubicBezTo>
                  <a:cubicBezTo>
                    <a:pt x="912741" y="354343"/>
                    <a:pt x="930341" y="355792"/>
                    <a:pt x="999425" y="356861"/>
                  </a:cubicBezTo>
                  <a:cubicBezTo>
                    <a:pt x="1094401" y="358330"/>
                    <a:pt x="1099123" y="359675"/>
                    <a:pt x="1099123" y="385353"/>
                  </a:cubicBezTo>
                  <a:cubicBezTo>
                    <a:pt x="1099123" y="412146"/>
                    <a:pt x="1095115" y="413163"/>
                    <a:pt x="989952" y="413163"/>
                  </a:cubicBezTo>
                  <a:cubicBezTo>
                    <a:pt x="898957" y="413163"/>
                    <a:pt x="896541" y="412948"/>
                    <a:pt x="874108" y="402923"/>
                  </a:cubicBezTo>
                  <a:cubicBezTo>
                    <a:pt x="830203" y="383310"/>
                    <a:pt x="810324" y="352231"/>
                    <a:pt x="807523" y="298892"/>
                  </a:cubicBezTo>
                  <a:lnTo>
                    <a:pt x="805601" y="262088"/>
                  </a:lnTo>
                  <a:lnTo>
                    <a:pt x="780642" y="244075"/>
                  </a:lnTo>
                  <a:cubicBezTo>
                    <a:pt x="766941" y="234169"/>
                    <a:pt x="737753" y="218164"/>
                    <a:pt x="715815" y="208510"/>
                  </a:cubicBezTo>
                  <a:cubicBezTo>
                    <a:pt x="631108" y="171225"/>
                    <a:pt x="543024" y="165997"/>
                    <a:pt x="452963" y="192908"/>
                  </a:cubicBezTo>
                  <a:cubicBezTo>
                    <a:pt x="355062" y="222151"/>
                    <a:pt x="267700" y="300207"/>
                    <a:pt x="235015" y="387635"/>
                  </a:cubicBezTo>
                  <a:cubicBezTo>
                    <a:pt x="230053" y="400905"/>
                    <a:pt x="213375" y="479129"/>
                    <a:pt x="197958" y="561464"/>
                  </a:cubicBezTo>
                  <a:cubicBezTo>
                    <a:pt x="176706" y="674933"/>
                    <a:pt x="167985" y="713080"/>
                    <a:pt x="161922" y="719084"/>
                  </a:cubicBezTo>
                  <a:cubicBezTo>
                    <a:pt x="144366" y="736479"/>
                    <a:pt x="106557" y="723939"/>
                    <a:pt x="106557" y="700721"/>
                  </a:cubicBezTo>
                  <a:cubicBezTo>
                    <a:pt x="106557" y="680454"/>
                    <a:pt x="160179" y="404752"/>
                    <a:pt x="169251" y="378376"/>
                  </a:cubicBezTo>
                  <a:cubicBezTo>
                    <a:pt x="202112" y="282824"/>
                    <a:pt x="281075" y="200341"/>
                    <a:pt x="384604" y="153424"/>
                  </a:cubicBezTo>
                  <a:lnTo>
                    <a:pt x="407869" y="142883"/>
                  </a:lnTo>
                  <a:lnTo>
                    <a:pt x="407894" y="110176"/>
                  </a:lnTo>
                  <a:cubicBezTo>
                    <a:pt x="407927" y="68097"/>
                    <a:pt x="413509" y="50900"/>
                    <a:pt x="433632" y="30878"/>
                  </a:cubicBezTo>
                  <a:cubicBezTo>
                    <a:pt x="461886" y="2780"/>
                    <a:pt x="473364" y="186"/>
                    <a:pt x="569905" y="87"/>
                  </a:cubicBezTo>
                  <a:cubicBezTo>
                    <a:pt x="653404" y="2"/>
                    <a:pt x="654694" y="131"/>
                    <a:pt x="678445" y="10924"/>
                  </a:cubicBezTo>
                  <a:cubicBezTo>
                    <a:pt x="694178" y="18072"/>
                    <a:pt x="707083" y="27800"/>
                    <a:pt x="715787" y="39058"/>
                  </a:cubicBezTo>
                  <a:cubicBezTo>
                    <a:pt x="728390" y="55321"/>
                    <a:pt x="729186" y="58747"/>
                    <a:pt x="730587" y="101288"/>
                  </a:cubicBezTo>
                  <a:lnTo>
                    <a:pt x="732070" y="146304"/>
                  </a:lnTo>
                  <a:lnTo>
                    <a:pt x="766639" y="164303"/>
                  </a:lnTo>
                  <a:cubicBezTo>
                    <a:pt x="785639" y="174201"/>
                    <a:pt x="813289" y="191340"/>
                    <a:pt x="828089" y="202387"/>
                  </a:cubicBezTo>
                  <a:lnTo>
                    <a:pt x="855025" y="222472"/>
                  </a:lnTo>
                  <a:lnTo>
                    <a:pt x="1134571" y="222472"/>
                  </a:lnTo>
                  <a:lnTo>
                    <a:pt x="1414090" y="222472"/>
                  </a:lnTo>
                  <a:lnTo>
                    <a:pt x="1440779" y="202568"/>
                  </a:lnTo>
                  <a:cubicBezTo>
                    <a:pt x="1455441" y="191620"/>
                    <a:pt x="1483119" y="174569"/>
                    <a:pt x="1502229" y="164673"/>
                  </a:cubicBezTo>
                  <a:lnTo>
                    <a:pt x="1537018" y="146683"/>
                  </a:lnTo>
                  <a:lnTo>
                    <a:pt x="1538501" y="101477"/>
                  </a:lnTo>
                  <a:cubicBezTo>
                    <a:pt x="1539929" y="58728"/>
                    <a:pt x="1540725" y="55332"/>
                    <a:pt x="1553328" y="39058"/>
                  </a:cubicBezTo>
                  <a:cubicBezTo>
                    <a:pt x="1562032" y="27800"/>
                    <a:pt x="1574937" y="18072"/>
                    <a:pt x="1590670" y="10924"/>
                  </a:cubicBezTo>
                  <a:cubicBezTo>
                    <a:pt x="1614421" y="128"/>
                    <a:pt x="1615712" y="-1"/>
                    <a:pt x="1699210" y="87"/>
                  </a:cubicBezTo>
                  <a:cubicBezTo>
                    <a:pt x="1795752" y="186"/>
                    <a:pt x="1807229" y="2780"/>
                    <a:pt x="1835482" y="30878"/>
                  </a:cubicBezTo>
                  <a:cubicBezTo>
                    <a:pt x="1855609" y="50900"/>
                    <a:pt x="1861183" y="68097"/>
                    <a:pt x="1861210" y="110176"/>
                  </a:cubicBezTo>
                  <a:lnTo>
                    <a:pt x="1861238" y="142883"/>
                  </a:lnTo>
                  <a:lnTo>
                    <a:pt x="1884522" y="153424"/>
                  </a:lnTo>
                  <a:cubicBezTo>
                    <a:pt x="1945011" y="180846"/>
                    <a:pt x="2003139" y="225036"/>
                    <a:pt x="2041003" y="272415"/>
                  </a:cubicBezTo>
                  <a:cubicBezTo>
                    <a:pt x="2067472" y="305512"/>
                    <a:pt x="2094298" y="357215"/>
                    <a:pt x="2104787" y="395285"/>
                  </a:cubicBezTo>
                  <a:cubicBezTo>
                    <a:pt x="2118406" y="444708"/>
                    <a:pt x="2268902" y="1256579"/>
                    <a:pt x="2268819" y="1280132"/>
                  </a:cubicBezTo>
                  <a:cubicBezTo>
                    <a:pt x="2268709" y="1312521"/>
                    <a:pt x="2257479" y="1352692"/>
                    <a:pt x="2239247" y="1385970"/>
                  </a:cubicBezTo>
                  <a:cubicBezTo>
                    <a:pt x="2218571" y="1423661"/>
                    <a:pt x="2168983" y="1469763"/>
                    <a:pt x="2128510" y="1488928"/>
                  </a:cubicBezTo>
                  <a:cubicBezTo>
                    <a:pt x="2072442" y="1515452"/>
                    <a:pt x="1995286" y="1524376"/>
                    <a:pt x="1935044" y="1511306"/>
                  </a:cubicBezTo>
                  <a:close/>
                  <a:moveTo>
                    <a:pt x="664881" y="101301"/>
                  </a:moveTo>
                  <a:cubicBezTo>
                    <a:pt x="664881" y="60183"/>
                    <a:pt x="663535" y="59588"/>
                    <a:pt x="571003" y="59588"/>
                  </a:cubicBezTo>
                  <a:cubicBezTo>
                    <a:pt x="498899" y="59588"/>
                    <a:pt x="494286" y="60049"/>
                    <a:pt x="484594" y="68226"/>
                  </a:cubicBezTo>
                  <a:cubicBezTo>
                    <a:pt x="476109" y="75365"/>
                    <a:pt x="474325" y="80939"/>
                    <a:pt x="474325" y="100324"/>
                  </a:cubicBezTo>
                  <a:lnTo>
                    <a:pt x="474325" y="123786"/>
                  </a:lnTo>
                  <a:lnTo>
                    <a:pt x="504253" y="120489"/>
                  </a:lnTo>
                  <a:cubicBezTo>
                    <a:pt x="541541" y="116378"/>
                    <a:pt x="612546" y="117474"/>
                    <a:pt x="636078" y="122523"/>
                  </a:cubicBezTo>
                  <a:cubicBezTo>
                    <a:pt x="665622" y="128866"/>
                    <a:pt x="664881" y="129415"/>
                    <a:pt x="664881" y="101304"/>
                  </a:cubicBezTo>
                  <a:close/>
                  <a:moveTo>
                    <a:pt x="1665520" y="118715"/>
                  </a:moveTo>
                  <a:cubicBezTo>
                    <a:pt x="1696080" y="115414"/>
                    <a:pt x="1716975" y="115412"/>
                    <a:pt x="1745586" y="118701"/>
                  </a:cubicBezTo>
                  <a:cubicBezTo>
                    <a:pt x="1766893" y="121150"/>
                    <a:pt x="1786663" y="123152"/>
                    <a:pt x="1789546" y="123152"/>
                  </a:cubicBezTo>
                  <a:cubicBezTo>
                    <a:pt x="1799101" y="123152"/>
                    <a:pt x="1796053" y="81957"/>
                    <a:pt x="1785592" y="70057"/>
                  </a:cubicBezTo>
                  <a:lnTo>
                    <a:pt x="1776421" y="59588"/>
                  </a:lnTo>
                  <a:lnTo>
                    <a:pt x="1699183" y="59588"/>
                  </a:lnTo>
                  <a:cubicBezTo>
                    <a:pt x="1605278" y="59588"/>
                    <a:pt x="1604262" y="60043"/>
                    <a:pt x="1604262" y="101765"/>
                  </a:cubicBezTo>
                  <a:cubicBezTo>
                    <a:pt x="1604262" y="127098"/>
                    <a:pt x="1604618" y="127963"/>
                    <a:pt x="1614229" y="125615"/>
                  </a:cubicBezTo>
                  <a:cubicBezTo>
                    <a:pt x="1619693" y="124275"/>
                    <a:pt x="1642785" y="121170"/>
                    <a:pt x="1665520" y="118715"/>
                  </a:cubicBezTo>
                  <a:close/>
                  <a:moveTo>
                    <a:pt x="737561" y="935154"/>
                  </a:moveTo>
                  <a:cubicBezTo>
                    <a:pt x="701839" y="925327"/>
                    <a:pt x="673997" y="903896"/>
                    <a:pt x="656122" y="872482"/>
                  </a:cubicBezTo>
                  <a:cubicBezTo>
                    <a:pt x="642750" y="848954"/>
                    <a:pt x="640773" y="841746"/>
                    <a:pt x="640883" y="817012"/>
                  </a:cubicBezTo>
                  <a:cubicBezTo>
                    <a:pt x="641185" y="750891"/>
                    <a:pt x="694727" y="700411"/>
                    <a:pt x="769000" y="696201"/>
                  </a:cubicBezTo>
                  <a:cubicBezTo>
                    <a:pt x="846156" y="691827"/>
                    <a:pt x="907112" y="739749"/>
                    <a:pt x="912054" y="808662"/>
                  </a:cubicBezTo>
                  <a:cubicBezTo>
                    <a:pt x="914828" y="847249"/>
                    <a:pt x="905437" y="871724"/>
                    <a:pt x="877266" y="899344"/>
                  </a:cubicBezTo>
                  <a:cubicBezTo>
                    <a:pt x="841214" y="934709"/>
                    <a:pt x="786710" y="948683"/>
                    <a:pt x="737561" y="935154"/>
                  </a:cubicBezTo>
                  <a:close/>
                  <a:moveTo>
                    <a:pt x="814937" y="871093"/>
                  </a:moveTo>
                  <a:cubicBezTo>
                    <a:pt x="834899" y="857831"/>
                    <a:pt x="846540" y="838786"/>
                    <a:pt x="846540" y="819387"/>
                  </a:cubicBezTo>
                  <a:cubicBezTo>
                    <a:pt x="846540" y="782597"/>
                    <a:pt x="822378" y="758626"/>
                    <a:pt x="782317" y="755647"/>
                  </a:cubicBezTo>
                  <a:cubicBezTo>
                    <a:pt x="743053" y="752728"/>
                    <a:pt x="711806" y="775494"/>
                    <a:pt x="706616" y="810796"/>
                  </a:cubicBezTo>
                  <a:cubicBezTo>
                    <a:pt x="699203" y="861249"/>
                    <a:pt x="770208" y="900780"/>
                    <a:pt x="814937" y="871093"/>
                  </a:cubicBezTo>
                  <a:close/>
                  <a:moveTo>
                    <a:pt x="1461290" y="937214"/>
                  </a:moveTo>
                  <a:cubicBezTo>
                    <a:pt x="1433612" y="931370"/>
                    <a:pt x="1411591" y="919182"/>
                    <a:pt x="1390257" y="897916"/>
                  </a:cubicBezTo>
                  <a:cubicBezTo>
                    <a:pt x="1363678" y="871414"/>
                    <a:pt x="1354370" y="846348"/>
                    <a:pt x="1357061" y="808662"/>
                  </a:cubicBezTo>
                  <a:cubicBezTo>
                    <a:pt x="1366204" y="680979"/>
                    <a:pt x="1559835" y="652549"/>
                    <a:pt x="1618897" y="770222"/>
                  </a:cubicBezTo>
                  <a:cubicBezTo>
                    <a:pt x="1625404" y="783179"/>
                    <a:pt x="1628150" y="796957"/>
                    <a:pt x="1628232" y="817012"/>
                  </a:cubicBezTo>
                  <a:cubicBezTo>
                    <a:pt x="1628342" y="841746"/>
                    <a:pt x="1626365" y="848954"/>
                    <a:pt x="1612993" y="872482"/>
                  </a:cubicBezTo>
                  <a:cubicBezTo>
                    <a:pt x="1583641" y="924053"/>
                    <a:pt x="1522493" y="950146"/>
                    <a:pt x="1461290" y="937214"/>
                  </a:cubicBezTo>
                  <a:close/>
                  <a:moveTo>
                    <a:pt x="1524662" y="872798"/>
                  </a:moveTo>
                  <a:cubicBezTo>
                    <a:pt x="1563542" y="854360"/>
                    <a:pt x="1574800" y="810779"/>
                    <a:pt x="1548633" y="780005"/>
                  </a:cubicBezTo>
                  <a:cubicBezTo>
                    <a:pt x="1534080" y="762915"/>
                    <a:pt x="1516287" y="754818"/>
                    <a:pt x="1493250" y="754818"/>
                  </a:cubicBezTo>
                  <a:cubicBezTo>
                    <a:pt x="1455524" y="754818"/>
                    <a:pt x="1427709" y="776293"/>
                    <a:pt x="1423645" y="808577"/>
                  </a:cubicBezTo>
                  <a:cubicBezTo>
                    <a:pt x="1420817" y="831175"/>
                    <a:pt x="1424387" y="842792"/>
                    <a:pt x="1438967" y="858328"/>
                  </a:cubicBezTo>
                  <a:cubicBezTo>
                    <a:pt x="1461894" y="882757"/>
                    <a:pt x="1492701" y="887957"/>
                    <a:pt x="1524662" y="872798"/>
                  </a:cubicBezTo>
                  <a:close/>
                  <a:moveTo>
                    <a:pt x="1686086" y="721446"/>
                  </a:moveTo>
                  <a:cubicBezTo>
                    <a:pt x="1667881" y="714345"/>
                    <a:pt x="1644295" y="692580"/>
                    <a:pt x="1636277" y="675482"/>
                  </a:cubicBezTo>
                  <a:cubicBezTo>
                    <a:pt x="1627820" y="657514"/>
                    <a:pt x="1627820" y="625674"/>
                    <a:pt x="1636277" y="607705"/>
                  </a:cubicBezTo>
                  <a:cubicBezTo>
                    <a:pt x="1644542" y="590132"/>
                    <a:pt x="1668183" y="568639"/>
                    <a:pt x="1687047" y="561571"/>
                  </a:cubicBezTo>
                  <a:cubicBezTo>
                    <a:pt x="1694982" y="558608"/>
                    <a:pt x="1711539" y="556181"/>
                    <a:pt x="1723895" y="556181"/>
                  </a:cubicBezTo>
                  <a:cubicBezTo>
                    <a:pt x="1826943" y="556181"/>
                    <a:pt x="1859069" y="677088"/>
                    <a:pt x="1767278" y="719428"/>
                  </a:cubicBezTo>
                  <a:cubicBezTo>
                    <a:pt x="1747893" y="728365"/>
                    <a:pt x="1706432" y="729398"/>
                    <a:pt x="1686086" y="721446"/>
                  </a:cubicBezTo>
                  <a:close/>
                  <a:moveTo>
                    <a:pt x="1746794" y="660841"/>
                  </a:moveTo>
                  <a:cubicBezTo>
                    <a:pt x="1756899" y="652651"/>
                    <a:pt x="1757311" y="632681"/>
                    <a:pt x="1747563" y="623038"/>
                  </a:cubicBezTo>
                  <a:cubicBezTo>
                    <a:pt x="1736360" y="611920"/>
                    <a:pt x="1713186" y="613551"/>
                    <a:pt x="1702066" y="626239"/>
                  </a:cubicBezTo>
                  <a:cubicBezTo>
                    <a:pt x="1697014" y="631997"/>
                    <a:pt x="1692867" y="638905"/>
                    <a:pt x="1692867" y="641594"/>
                  </a:cubicBezTo>
                  <a:cubicBezTo>
                    <a:pt x="1692867" y="644282"/>
                    <a:pt x="1697014" y="651193"/>
                    <a:pt x="1702066" y="656951"/>
                  </a:cubicBezTo>
                  <a:cubicBezTo>
                    <a:pt x="1712829" y="669238"/>
                    <a:pt x="1734164" y="671094"/>
                    <a:pt x="1746794" y="660841"/>
                  </a:cubicBezTo>
                  <a:close/>
                  <a:moveTo>
                    <a:pt x="525286" y="679817"/>
                  </a:moveTo>
                  <a:cubicBezTo>
                    <a:pt x="492886" y="666492"/>
                    <a:pt x="469629" y="638466"/>
                    <a:pt x="463479" y="605322"/>
                  </a:cubicBezTo>
                  <a:cubicBezTo>
                    <a:pt x="460513" y="589262"/>
                    <a:pt x="459992" y="588861"/>
                    <a:pt x="439398" y="586412"/>
                  </a:cubicBezTo>
                  <a:cubicBezTo>
                    <a:pt x="400447" y="581780"/>
                    <a:pt x="365708" y="553117"/>
                    <a:pt x="354725" y="516541"/>
                  </a:cubicBezTo>
                  <a:cubicBezTo>
                    <a:pt x="339384" y="465461"/>
                    <a:pt x="380941" y="411713"/>
                    <a:pt x="442611" y="402871"/>
                  </a:cubicBezTo>
                  <a:cubicBezTo>
                    <a:pt x="459415" y="400460"/>
                    <a:pt x="460623" y="399373"/>
                    <a:pt x="463479" y="383895"/>
                  </a:cubicBezTo>
                  <a:cubicBezTo>
                    <a:pt x="472924" y="333082"/>
                    <a:pt x="524847" y="296706"/>
                    <a:pt x="578554" y="303304"/>
                  </a:cubicBezTo>
                  <a:cubicBezTo>
                    <a:pt x="601975" y="306185"/>
                    <a:pt x="627758" y="317289"/>
                    <a:pt x="641322" y="330342"/>
                  </a:cubicBezTo>
                  <a:cubicBezTo>
                    <a:pt x="654694" y="343189"/>
                    <a:pt x="669082" y="372882"/>
                    <a:pt x="669192" y="387822"/>
                  </a:cubicBezTo>
                  <a:cubicBezTo>
                    <a:pt x="669274" y="399623"/>
                    <a:pt x="670317" y="400342"/>
                    <a:pt x="690663" y="402761"/>
                  </a:cubicBezTo>
                  <a:cubicBezTo>
                    <a:pt x="718066" y="406018"/>
                    <a:pt x="749642" y="424003"/>
                    <a:pt x="765348" y="445285"/>
                  </a:cubicBezTo>
                  <a:cubicBezTo>
                    <a:pt x="780423" y="465694"/>
                    <a:pt x="784898" y="506370"/>
                    <a:pt x="774546" y="528531"/>
                  </a:cubicBezTo>
                  <a:cubicBezTo>
                    <a:pt x="759747" y="560228"/>
                    <a:pt x="717517" y="587831"/>
                    <a:pt x="683689" y="587925"/>
                  </a:cubicBezTo>
                  <a:cubicBezTo>
                    <a:pt x="671114" y="587961"/>
                    <a:pt x="669301" y="589279"/>
                    <a:pt x="669301" y="598427"/>
                  </a:cubicBezTo>
                  <a:cubicBezTo>
                    <a:pt x="669301" y="632288"/>
                    <a:pt x="635831" y="672912"/>
                    <a:pt x="600108" y="682426"/>
                  </a:cubicBezTo>
                  <a:cubicBezTo>
                    <a:pt x="574298" y="689296"/>
                    <a:pt x="545934" y="688307"/>
                    <a:pt x="525286" y="679817"/>
                  </a:cubicBezTo>
                  <a:close/>
                  <a:moveTo>
                    <a:pt x="590114" y="620135"/>
                  </a:moveTo>
                  <a:cubicBezTo>
                    <a:pt x="599147" y="613578"/>
                    <a:pt x="600850" y="607980"/>
                    <a:pt x="603074" y="577851"/>
                  </a:cubicBezTo>
                  <a:cubicBezTo>
                    <a:pt x="606423" y="532946"/>
                    <a:pt x="611585" y="528372"/>
                    <a:pt x="658922" y="528372"/>
                  </a:cubicBezTo>
                  <a:cubicBezTo>
                    <a:pt x="687973" y="528372"/>
                    <a:pt x="693135" y="527224"/>
                    <a:pt x="702745" y="518619"/>
                  </a:cubicBezTo>
                  <a:cubicBezTo>
                    <a:pt x="716034" y="506702"/>
                    <a:pt x="717242" y="485599"/>
                    <a:pt x="705381" y="472471"/>
                  </a:cubicBezTo>
                  <a:cubicBezTo>
                    <a:pt x="698324" y="464662"/>
                    <a:pt x="691734" y="463042"/>
                    <a:pt x="659005" y="461093"/>
                  </a:cubicBezTo>
                  <a:cubicBezTo>
                    <a:pt x="609197" y="458130"/>
                    <a:pt x="606368" y="455573"/>
                    <a:pt x="603046" y="410884"/>
                  </a:cubicBezTo>
                  <a:cubicBezTo>
                    <a:pt x="600850" y="381232"/>
                    <a:pt x="599120" y="375611"/>
                    <a:pt x="590114" y="369074"/>
                  </a:cubicBezTo>
                  <a:cubicBezTo>
                    <a:pt x="575973" y="358807"/>
                    <a:pt x="557109" y="359576"/>
                    <a:pt x="542255" y="371020"/>
                  </a:cubicBezTo>
                  <a:cubicBezTo>
                    <a:pt x="531080" y="379637"/>
                    <a:pt x="529789" y="383431"/>
                    <a:pt x="528279" y="411740"/>
                  </a:cubicBezTo>
                  <a:cubicBezTo>
                    <a:pt x="525972" y="455052"/>
                    <a:pt x="519740" y="460834"/>
                    <a:pt x="475423" y="460834"/>
                  </a:cubicBezTo>
                  <a:cubicBezTo>
                    <a:pt x="445082" y="460834"/>
                    <a:pt x="441677" y="461705"/>
                    <a:pt x="429679" y="472449"/>
                  </a:cubicBezTo>
                  <a:cubicBezTo>
                    <a:pt x="412877" y="487515"/>
                    <a:pt x="412877" y="501691"/>
                    <a:pt x="429679" y="516760"/>
                  </a:cubicBezTo>
                  <a:cubicBezTo>
                    <a:pt x="441513" y="527364"/>
                    <a:pt x="445302" y="528372"/>
                    <a:pt x="473391" y="528372"/>
                  </a:cubicBezTo>
                  <a:cubicBezTo>
                    <a:pt x="518806" y="528372"/>
                    <a:pt x="526082" y="534665"/>
                    <a:pt x="528169" y="575698"/>
                  </a:cubicBezTo>
                  <a:cubicBezTo>
                    <a:pt x="529515" y="602445"/>
                    <a:pt x="531382" y="608771"/>
                    <a:pt x="540470" y="617456"/>
                  </a:cubicBezTo>
                  <a:cubicBezTo>
                    <a:pt x="553513" y="629899"/>
                    <a:pt x="575067" y="631061"/>
                    <a:pt x="590114" y="620135"/>
                  </a:cubicBezTo>
                  <a:close/>
                  <a:moveTo>
                    <a:pt x="923257" y="607953"/>
                  </a:moveTo>
                  <a:cubicBezTo>
                    <a:pt x="903378" y="600451"/>
                    <a:pt x="898024" y="575487"/>
                    <a:pt x="913180" y="560904"/>
                  </a:cubicBezTo>
                  <a:cubicBezTo>
                    <a:pt x="921665" y="552732"/>
                    <a:pt x="926085" y="552208"/>
                    <a:pt x="986300" y="552208"/>
                  </a:cubicBezTo>
                  <a:cubicBezTo>
                    <a:pt x="1044455" y="552208"/>
                    <a:pt x="1051182" y="552941"/>
                    <a:pt x="1059227" y="560154"/>
                  </a:cubicBezTo>
                  <a:cubicBezTo>
                    <a:pt x="1070430" y="570190"/>
                    <a:pt x="1070595" y="588271"/>
                    <a:pt x="1059639" y="600435"/>
                  </a:cubicBezTo>
                  <a:cubicBezTo>
                    <a:pt x="1051594" y="609350"/>
                    <a:pt x="1048244" y="609858"/>
                    <a:pt x="992066" y="610709"/>
                  </a:cubicBezTo>
                  <a:cubicBezTo>
                    <a:pt x="959556" y="611201"/>
                    <a:pt x="928584" y="609960"/>
                    <a:pt x="923257" y="607953"/>
                  </a:cubicBezTo>
                  <a:close/>
                  <a:moveTo>
                    <a:pt x="1220157" y="607953"/>
                  </a:moveTo>
                  <a:cubicBezTo>
                    <a:pt x="1200332" y="600484"/>
                    <a:pt x="1194621" y="573836"/>
                    <a:pt x="1209888" y="560154"/>
                  </a:cubicBezTo>
                  <a:cubicBezTo>
                    <a:pt x="1217933" y="552941"/>
                    <a:pt x="1224660" y="552208"/>
                    <a:pt x="1282815" y="552208"/>
                  </a:cubicBezTo>
                  <a:cubicBezTo>
                    <a:pt x="1343030" y="552208"/>
                    <a:pt x="1347450" y="552732"/>
                    <a:pt x="1355935" y="560904"/>
                  </a:cubicBezTo>
                  <a:cubicBezTo>
                    <a:pt x="1367275" y="571816"/>
                    <a:pt x="1367522" y="588238"/>
                    <a:pt x="1356511" y="600435"/>
                  </a:cubicBezTo>
                  <a:cubicBezTo>
                    <a:pt x="1348466" y="609350"/>
                    <a:pt x="1345117" y="609858"/>
                    <a:pt x="1288938" y="610709"/>
                  </a:cubicBezTo>
                  <a:cubicBezTo>
                    <a:pt x="1256428" y="611201"/>
                    <a:pt x="1225483" y="609960"/>
                    <a:pt x="1220157" y="607953"/>
                  </a:cubicBezTo>
                  <a:close/>
                  <a:moveTo>
                    <a:pt x="1522136" y="574454"/>
                  </a:moveTo>
                  <a:cubicBezTo>
                    <a:pt x="1504343" y="567513"/>
                    <a:pt x="1480400" y="545684"/>
                    <a:pt x="1472904" y="529613"/>
                  </a:cubicBezTo>
                  <a:cubicBezTo>
                    <a:pt x="1465985" y="514783"/>
                    <a:pt x="1464942" y="477861"/>
                    <a:pt x="1471010" y="463523"/>
                  </a:cubicBezTo>
                  <a:cubicBezTo>
                    <a:pt x="1477737" y="447655"/>
                    <a:pt x="1503163" y="424365"/>
                    <a:pt x="1522246" y="416597"/>
                  </a:cubicBezTo>
                  <a:cubicBezTo>
                    <a:pt x="1531993" y="412619"/>
                    <a:pt x="1549539" y="409324"/>
                    <a:pt x="1561180" y="409277"/>
                  </a:cubicBezTo>
                  <a:cubicBezTo>
                    <a:pt x="1662966" y="408857"/>
                    <a:pt x="1694378" y="530442"/>
                    <a:pt x="1603328" y="572436"/>
                  </a:cubicBezTo>
                  <a:cubicBezTo>
                    <a:pt x="1583943" y="581373"/>
                    <a:pt x="1542482" y="582406"/>
                    <a:pt x="1522136" y="574454"/>
                  </a:cubicBezTo>
                  <a:close/>
                  <a:moveTo>
                    <a:pt x="1583202" y="513248"/>
                  </a:moveTo>
                  <a:cubicBezTo>
                    <a:pt x="1593004" y="505703"/>
                    <a:pt x="1593224" y="485560"/>
                    <a:pt x="1583613" y="476046"/>
                  </a:cubicBezTo>
                  <a:cubicBezTo>
                    <a:pt x="1579440" y="471900"/>
                    <a:pt x="1570214" y="468781"/>
                    <a:pt x="1562142" y="468781"/>
                  </a:cubicBezTo>
                  <a:cubicBezTo>
                    <a:pt x="1528012" y="468781"/>
                    <a:pt x="1520873" y="509594"/>
                    <a:pt x="1553135" y="520349"/>
                  </a:cubicBezTo>
                  <a:cubicBezTo>
                    <a:pt x="1563487" y="523800"/>
                    <a:pt x="1572164" y="521755"/>
                    <a:pt x="1583202" y="513248"/>
                  </a:cubicBezTo>
                  <a:close/>
                  <a:moveTo>
                    <a:pt x="1844159" y="571442"/>
                  </a:moveTo>
                  <a:cubicBezTo>
                    <a:pt x="1820573" y="560972"/>
                    <a:pt x="1801792" y="538649"/>
                    <a:pt x="1794900" y="512886"/>
                  </a:cubicBezTo>
                  <a:cubicBezTo>
                    <a:pt x="1781116" y="461386"/>
                    <a:pt x="1827712" y="409189"/>
                    <a:pt x="1887460" y="409189"/>
                  </a:cubicBezTo>
                  <a:cubicBezTo>
                    <a:pt x="1990865" y="409189"/>
                    <a:pt x="2023238" y="529997"/>
                    <a:pt x="1931227" y="572436"/>
                  </a:cubicBezTo>
                  <a:cubicBezTo>
                    <a:pt x="1908273" y="583013"/>
                    <a:pt x="1869228" y="582565"/>
                    <a:pt x="1844159" y="571442"/>
                  </a:cubicBezTo>
                  <a:close/>
                  <a:moveTo>
                    <a:pt x="1911101" y="513248"/>
                  </a:moveTo>
                  <a:cubicBezTo>
                    <a:pt x="1920766" y="505799"/>
                    <a:pt x="1921095" y="489300"/>
                    <a:pt x="1911787" y="477394"/>
                  </a:cubicBezTo>
                  <a:cubicBezTo>
                    <a:pt x="1901793" y="464585"/>
                    <a:pt x="1876559" y="466738"/>
                    <a:pt x="1864368" y="481439"/>
                  </a:cubicBezTo>
                  <a:cubicBezTo>
                    <a:pt x="1856625" y="490774"/>
                    <a:pt x="1856213" y="493613"/>
                    <a:pt x="1861046" y="504086"/>
                  </a:cubicBezTo>
                  <a:cubicBezTo>
                    <a:pt x="1869805" y="523037"/>
                    <a:pt x="1892897" y="527265"/>
                    <a:pt x="1911101" y="513248"/>
                  </a:cubicBezTo>
                  <a:close/>
                  <a:moveTo>
                    <a:pt x="1706157" y="432278"/>
                  </a:moveTo>
                  <a:cubicBezTo>
                    <a:pt x="1662307" y="425381"/>
                    <a:pt x="1629440" y="389318"/>
                    <a:pt x="1629907" y="348631"/>
                  </a:cubicBezTo>
                  <a:cubicBezTo>
                    <a:pt x="1630209" y="322593"/>
                    <a:pt x="1635151" y="310820"/>
                    <a:pt x="1653768" y="291811"/>
                  </a:cubicBezTo>
                  <a:cubicBezTo>
                    <a:pt x="1711786" y="232551"/>
                    <a:pt x="1820875" y="268323"/>
                    <a:pt x="1821259" y="346748"/>
                  </a:cubicBezTo>
                  <a:cubicBezTo>
                    <a:pt x="1821561" y="402641"/>
                    <a:pt x="1768486" y="442084"/>
                    <a:pt x="1706157" y="432278"/>
                  </a:cubicBezTo>
                  <a:close/>
                  <a:moveTo>
                    <a:pt x="1747151" y="366391"/>
                  </a:moveTo>
                  <a:cubicBezTo>
                    <a:pt x="1756954" y="358678"/>
                    <a:pt x="1757173" y="338565"/>
                    <a:pt x="1747563" y="329054"/>
                  </a:cubicBezTo>
                  <a:cubicBezTo>
                    <a:pt x="1726311" y="308005"/>
                    <a:pt x="1684740" y="333230"/>
                    <a:pt x="1697920" y="359172"/>
                  </a:cubicBezTo>
                  <a:cubicBezTo>
                    <a:pt x="1706953" y="376951"/>
                    <a:pt x="1729524" y="380263"/>
                    <a:pt x="1747151" y="366391"/>
                  </a:cubicBezTo>
                  <a:close/>
                </a:path>
              </a:pathLst>
            </a:custGeom>
            <a:solidFill>
              <a:schemeClr val="bg1"/>
            </a:solidFill>
            <a:ln w="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D6CE9C1-8F2A-451C-8DB2-167F8C4B96FB}"/>
              </a:ext>
            </a:extLst>
          </p:cNvPr>
          <p:cNvCxnSpPr/>
          <p:nvPr/>
        </p:nvCxnSpPr>
        <p:spPr bwMode="auto">
          <a:xfrm>
            <a:off x="9286095" y="661932"/>
            <a:ext cx="0" cy="562465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9592933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A120F-83F5-4E8A-83FC-FD3658419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/>
              <a:t>Resources businesses need</a:t>
            </a:r>
            <a:br>
              <a:rPr lang="en-GB" dirty="0"/>
            </a:b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BB6AF6-FC52-4A39-BFEC-051D99FA0E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FA8F66-D3AE-4A05-BE79-BC39C70008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7D20566-6F06-440B-9CEF-EA15EEA6CC23}"/>
              </a:ext>
            </a:extLst>
          </p:cNvPr>
          <p:cNvGrpSpPr/>
          <p:nvPr/>
        </p:nvGrpSpPr>
        <p:grpSpPr>
          <a:xfrm>
            <a:off x="417434" y="1502762"/>
            <a:ext cx="9074165" cy="4786802"/>
            <a:chOff x="417434" y="1502762"/>
            <a:chExt cx="9074165" cy="478680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8751800-8FBC-49B5-9C50-60C42BA89F2E}"/>
                </a:ext>
              </a:extLst>
            </p:cNvPr>
            <p:cNvSpPr/>
            <p:nvPr/>
          </p:nvSpPr>
          <p:spPr>
            <a:xfrm flipH="1">
              <a:off x="5001895" y="1521256"/>
              <a:ext cx="4489704" cy="235402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r"/>
              <a:endParaRPr lang="en-US" sz="13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10C8422-ADA2-4BFF-ADA5-7034577389AD}"/>
                </a:ext>
              </a:extLst>
            </p:cNvPr>
            <p:cNvSpPr/>
            <p:nvPr/>
          </p:nvSpPr>
          <p:spPr>
            <a:xfrm flipH="1">
              <a:off x="5000645" y="3935540"/>
              <a:ext cx="4489704" cy="235402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r"/>
              <a:endParaRPr lang="en-US" sz="13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722097F-296B-413F-AE25-93D68DCE3605}"/>
                </a:ext>
              </a:extLst>
            </p:cNvPr>
            <p:cNvSpPr/>
            <p:nvPr/>
          </p:nvSpPr>
          <p:spPr>
            <a:xfrm>
              <a:off x="419525" y="1521256"/>
              <a:ext cx="4489704" cy="235402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ctr"/>
              <a:endParaRPr lang="en-US" sz="13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6663116-AB92-443F-BEF2-621F566A23BA}"/>
                </a:ext>
              </a:extLst>
            </p:cNvPr>
            <p:cNvSpPr/>
            <p:nvPr/>
          </p:nvSpPr>
          <p:spPr>
            <a:xfrm>
              <a:off x="420316" y="3935219"/>
              <a:ext cx="4489704" cy="235402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ctr"/>
              <a:endParaRPr lang="en-US" sz="1300" dirty="0">
                <a:solidFill>
                  <a:srgbClr val="003F62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48E54B3-1C98-4867-B9A1-A17835AD9CF3}"/>
                </a:ext>
              </a:extLst>
            </p:cNvPr>
            <p:cNvSpPr/>
            <p:nvPr/>
          </p:nvSpPr>
          <p:spPr>
            <a:xfrm flipH="1">
              <a:off x="9216832" y="1522527"/>
              <a:ext cx="274320" cy="2354024"/>
            </a:xfrm>
            <a:prstGeom prst="rect">
              <a:avLst/>
            </a:prstGeom>
            <a:solidFill>
              <a:srgbClr val="509A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r"/>
              <a:endParaRPr lang="en-US" sz="11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9E59EFE-2F52-48B9-B8C1-E925B92200D3}"/>
                </a:ext>
              </a:extLst>
            </p:cNvPr>
            <p:cNvSpPr/>
            <p:nvPr/>
          </p:nvSpPr>
          <p:spPr>
            <a:xfrm>
              <a:off x="417434" y="1520578"/>
              <a:ext cx="274320" cy="2354024"/>
            </a:xfrm>
            <a:prstGeom prst="rect">
              <a:avLst/>
            </a:prstGeom>
            <a:solidFill>
              <a:srgbClr val="509A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ctr"/>
              <a:endParaRPr lang="en-US" sz="13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43F2AA2-BA0F-41B2-9B61-1B0C8871940C}"/>
                </a:ext>
              </a:extLst>
            </p:cNvPr>
            <p:cNvSpPr/>
            <p:nvPr/>
          </p:nvSpPr>
          <p:spPr>
            <a:xfrm>
              <a:off x="418729" y="3933236"/>
              <a:ext cx="274320" cy="2354024"/>
            </a:xfrm>
            <a:prstGeom prst="rect">
              <a:avLst/>
            </a:prstGeom>
            <a:solidFill>
              <a:srgbClr val="509A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ctr"/>
              <a:endParaRPr lang="en-US" sz="13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48" name="Right Triangle 47">
              <a:extLst>
                <a:ext uri="{FF2B5EF4-FFF2-40B4-BE49-F238E27FC236}">
                  <a16:creationId xmlns:a16="http://schemas.microsoft.com/office/drawing/2014/main" id="{99197B2B-0FD9-4632-ABB5-427C92C4F777}"/>
                </a:ext>
              </a:extLst>
            </p:cNvPr>
            <p:cNvSpPr/>
            <p:nvPr/>
          </p:nvSpPr>
          <p:spPr>
            <a:xfrm flipV="1">
              <a:off x="5002948" y="3938836"/>
              <a:ext cx="2286000" cy="2140022"/>
            </a:xfrm>
            <a:prstGeom prst="rtTriangle">
              <a:avLst/>
            </a:prstGeom>
            <a:solidFill>
              <a:srgbClr val="7DD8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ctr"/>
              <a:endParaRPr lang="en-US" sz="13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49" name="Right Triangle 48">
              <a:extLst>
                <a:ext uri="{FF2B5EF4-FFF2-40B4-BE49-F238E27FC236}">
                  <a16:creationId xmlns:a16="http://schemas.microsoft.com/office/drawing/2014/main" id="{4D1D20DB-C62D-4BB5-998B-C0EAA9AFCEC8}"/>
                </a:ext>
              </a:extLst>
            </p:cNvPr>
            <p:cNvSpPr/>
            <p:nvPr/>
          </p:nvSpPr>
          <p:spPr>
            <a:xfrm rot="16200000" flipV="1">
              <a:off x="5077842" y="1661456"/>
              <a:ext cx="2140022" cy="2286000"/>
            </a:xfrm>
            <a:prstGeom prst="rtTriangle">
              <a:avLst/>
            </a:prstGeom>
            <a:solidFill>
              <a:srgbClr val="7DD8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ctr"/>
              <a:endParaRPr lang="en-US" sz="11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50" name="Right Triangle 49">
              <a:extLst>
                <a:ext uri="{FF2B5EF4-FFF2-40B4-BE49-F238E27FC236}">
                  <a16:creationId xmlns:a16="http://schemas.microsoft.com/office/drawing/2014/main" id="{7F1E8AE9-4E6E-476A-BC1B-4E6098102B52}"/>
                </a:ext>
              </a:extLst>
            </p:cNvPr>
            <p:cNvSpPr/>
            <p:nvPr/>
          </p:nvSpPr>
          <p:spPr>
            <a:xfrm rot="10800000">
              <a:off x="2620870" y="3935433"/>
              <a:ext cx="2286000" cy="2140022"/>
            </a:xfrm>
            <a:prstGeom prst="rtTriangle">
              <a:avLst/>
            </a:prstGeom>
            <a:solidFill>
              <a:srgbClr val="7DD8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ctr"/>
              <a:endParaRPr lang="en-US" sz="13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B97FC06-E23B-4858-9F30-487793CD35F7}"/>
                </a:ext>
              </a:extLst>
            </p:cNvPr>
            <p:cNvSpPr txBox="1"/>
            <p:nvPr/>
          </p:nvSpPr>
          <p:spPr>
            <a:xfrm>
              <a:off x="4026117" y="4056510"/>
              <a:ext cx="845221" cy="811775"/>
            </a:xfrm>
            <a:prstGeom prst="rect">
              <a:avLst/>
            </a:prstGeom>
            <a:noFill/>
          </p:spPr>
          <p:txBody>
            <a:bodyPr wrap="none" lIns="91440" tIns="91440" rIns="91440" bIns="91440" rtlCol="0" anchor="t" anchorCtr="0">
              <a:noAutofit/>
            </a:bodyPr>
            <a:lstStyle/>
            <a:p>
              <a:pPr algn="ctr"/>
              <a:r>
                <a:rPr lang="en-US" sz="3467" b="1" dirty="0">
                  <a:solidFill>
                    <a:schemeClr val="bg1"/>
                  </a:solidFill>
                  <a:latin typeface="IBM Plex Sans Light" panose="020B0403050203000203" pitchFamily="34" charset="0"/>
                </a:rPr>
                <a:t>2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E12B4C6-A8C8-4E5E-B33E-27DBD203E400}"/>
                </a:ext>
              </a:extLst>
            </p:cNvPr>
            <p:cNvSpPr txBox="1"/>
            <p:nvPr/>
          </p:nvSpPr>
          <p:spPr>
            <a:xfrm>
              <a:off x="5008663" y="4065584"/>
              <a:ext cx="870498" cy="811775"/>
            </a:xfrm>
            <a:prstGeom prst="rect">
              <a:avLst/>
            </a:prstGeom>
            <a:noFill/>
          </p:spPr>
          <p:txBody>
            <a:bodyPr wrap="none" lIns="91440" tIns="91440" rIns="91440" bIns="91440" rtlCol="0" anchor="t" anchorCtr="0">
              <a:noAutofit/>
            </a:bodyPr>
            <a:lstStyle/>
            <a:p>
              <a:pPr algn="ctr"/>
              <a:r>
                <a:rPr lang="en-US" sz="3467" b="1" dirty="0">
                  <a:solidFill>
                    <a:schemeClr val="bg1"/>
                  </a:solidFill>
                  <a:latin typeface="IBM Plex Sans Light" panose="020B0403050203000203" pitchFamily="34" charset="0"/>
                </a:rPr>
                <a:t>3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177978D-6F5B-46D1-8F93-3E5D2184D6ED}"/>
                </a:ext>
              </a:extLst>
            </p:cNvPr>
            <p:cNvSpPr txBox="1"/>
            <p:nvPr/>
          </p:nvSpPr>
          <p:spPr>
            <a:xfrm>
              <a:off x="5021808" y="2892742"/>
              <a:ext cx="870498" cy="811775"/>
            </a:xfrm>
            <a:prstGeom prst="rect">
              <a:avLst/>
            </a:prstGeom>
            <a:noFill/>
          </p:spPr>
          <p:txBody>
            <a:bodyPr wrap="none" lIns="91440" tIns="91440" rIns="91440" bIns="91440" rtlCol="0" anchor="t" anchorCtr="0">
              <a:noAutofit/>
            </a:bodyPr>
            <a:lstStyle/>
            <a:p>
              <a:pPr algn="ctr"/>
              <a:r>
                <a:rPr lang="en-US" sz="3467" b="1" dirty="0">
                  <a:solidFill>
                    <a:schemeClr val="bg1"/>
                  </a:solidFill>
                  <a:latin typeface="IBM Plex Sans Light" panose="020B0403050203000203" pitchFamily="34" charset="0"/>
                </a:rPr>
                <a:t>4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5ED37EC-D544-4AA0-A63D-AB0E199511F5}"/>
                </a:ext>
              </a:extLst>
            </p:cNvPr>
            <p:cNvSpPr/>
            <p:nvPr/>
          </p:nvSpPr>
          <p:spPr>
            <a:xfrm flipH="1">
              <a:off x="9215755" y="3935426"/>
              <a:ext cx="274320" cy="2354024"/>
            </a:xfrm>
            <a:prstGeom prst="rect">
              <a:avLst/>
            </a:prstGeom>
            <a:solidFill>
              <a:srgbClr val="509A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r"/>
              <a:endParaRPr lang="en-US" sz="13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CE2CF2E8-7FE5-44D4-B43F-4988257E31E2}"/>
                </a:ext>
              </a:extLst>
            </p:cNvPr>
            <p:cNvSpPr/>
            <p:nvPr/>
          </p:nvSpPr>
          <p:spPr bwMode="auto">
            <a:xfrm>
              <a:off x="791689" y="1522527"/>
              <a:ext cx="1741062" cy="382717"/>
            </a:xfrm>
            <a:prstGeom prst="roundRect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none" lIns="182880" tIns="182880" rIns="182880" bIns="182880" rtlCol="0" anchor="t" anchorCtr="0">
              <a:noAutofit/>
            </a:bodyPr>
            <a:lstStyle/>
            <a:p>
              <a:endParaRPr lang="en-IN" sz="1200" dirty="0">
                <a:latin typeface="IBM Plex Sans Light" panose="020B0403050203000203" pitchFamily="34" charset="0"/>
              </a:endParaRPr>
            </a:p>
            <a:p>
              <a:endParaRPr lang="en-US" b="1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endParaRPr>
            </a:p>
          </p:txBody>
        </p:sp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6B0C41E1-0B3B-481B-BED7-047108070473}"/>
                </a:ext>
              </a:extLst>
            </p:cNvPr>
            <p:cNvSpPr/>
            <p:nvPr/>
          </p:nvSpPr>
          <p:spPr bwMode="auto">
            <a:xfrm>
              <a:off x="791689" y="3934050"/>
              <a:ext cx="1741062" cy="382717"/>
            </a:xfrm>
            <a:prstGeom prst="roundRect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none" lIns="182880" tIns="182880" rIns="182880" bIns="182880" rtlCol="0" anchor="t" anchorCtr="0">
              <a:noAutofit/>
            </a:bodyPr>
            <a:lstStyle/>
            <a:p>
              <a:endParaRPr lang="en-IN" sz="1200" dirty="0">
                <a:latin typeface="IBM Plex Sans Light" panose="020B0403050203000203" pitchFamily="34" charset="0"/>
              </a:endParaRP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A24CBFFE-3677-46D2-8A1D-F99CFDAF1DA9}"/>
                </a:ext>
              </a:extLst>
            </p:cNvPr>
            <p:cNvSpPr/>
            <p:nvPr/>
          </p:nvSpPr>
          <p:spPr bwMode="auto">
            <a:xfrm>
              <a:off x="7363018" y="1523044"/>
              <a:ext cx="1741062" cy="382717"/>
            </a:xfrm>
            <a:prstGeom prst="roundRect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none" lIns="182880" tIns="182880" rIns="182880" bIns="182880" rtlCol="0" anchor="t" anchorCtr="0">
              <a:noAutofit/>
            </a:bodyPr>
            <a:lstStyle/>
            <a:p>
              <a:endParaRPr lang="en-IN" sz="1100" dirty="0">
                <a:latin typeface="IBM Plex Sans Light" panose="020B0403050203000203" pitchFamily="34" charset="0"/>
              </a:endParaRPr>
            </a:p>
            <a:p>
              <a:endParaRPr lang="en-US" sz="1100" b="1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endParaRP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4401589D-71B8-4DC1-BD7E-EB74E8AF529A}"/>
                </a:ext>
              </a:extLst>
            </p:cNvPr>
            <p:cNvSpPr/>
            <p:nvPr/>
          </p:nvSpPr>
          <p:spPr bwMode="auto">
            <a:xfrm>
              <a:off x="7370435" y="3934398"/>
              <a:ext cx="1741062" cy="382717"/>
            </a:xfrm>
            <a:prstGeom prst="roundRect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none" lIns="182880" tIns="182880" rIns="182880" bIns="182880" rtlCol="0" anchor="t" anchorCtr="0">
              <a:noAutofit/>
            </a:bodyPr>
            <a:lstStyle/>
            <a:p>
              <a:endParaRPr lang="en-IN" sz="1200" dirty="0">
                <a:latin typeface="IBM Plex Sans Light" panose="020B0403050203000203" pitchFamily="34" charset="0"/>
              </a:endParaRPr>
            </a:p>
            <a:p>
              <a:endParaRPr lang="en-US" b="1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A019C09-E042-4584-B26B-FA93369FAFCC}"/>
                </a:ext>
              </a:extLst>
            </p:cNvPr>
            <p:cNvSpPr txBox="1"/>
            <p:nvPr/>
          </p:nvSpPr>
          <p:spPr>
            <a:xfrm>
              <a:off x="613468" y="2049086"/>
              <a:ext cx="2534017" cy="1731633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t" anchorCtr="0">
              <a:noAutofit/>
            </a:bodyPr>
            <a:lstStyle/>
            <a:p>
              <a:pPr algn="l"/>
              <a:r>
                <a:rPr lang="en-US" sz="1100" dirty="0">
                  <a:solidFill>
                    <a:srgbClr val="509AAF"/>
                  </a:solidFill>
                  <a:latin typeface="IBM Plex Sans Light" panose="020B0403050203000203" pitchFamily="34" charset="0"/>
                </a:rPr>
                <a:t>Natural resources have two fundamental characteristics: (1) They are found in nature, and (2) they can be used for the production of goods and services.</a:t>
              </a:r>
            </a:p>
            <a:p>
              <a:endParaRPr lang="en-IN" sz="1100" dirty="0">
                <a:solidFill>
                  <a:srgbClr val="509AAF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C66E4B1-5515-4A07-923F-BE5586244BA2}"/>
                </a:ext>
              </a:extLst>
            </p:cNvPr>
            <p:cNvSpPr txBox="1"/>
            <p:nvPr/>
          </p:nvSpPr>
          <p:spPr>
            <a:xfrm>
              <a:off x="633322" y="4474729"/>
              <a:ext cx="2508087" cy="1283056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t" anchorCtr="0">
              <a:noAutofit/>
            </a:bodyPr>
            <a:lstStyle/>
            <a:p>
              <a:pPr algn="l"/>
              <a:r>
                <a:rPr lang="en-US" sz="1100" dirty="0">
                  <a:solidFill>
                    <a:srgbClr val="509AAF"/>
                  </a:solidFill>
                  <a:latin typeface="IBM Plex Sans Light" panose="020B0403050203000203" pitchFamily="34" charset="0"/>
                </a:rPr>
                <a:t>Labor refers to human resources (also called human capital)—physical or intellectual. You’re adding to your own human resources right now by learning.</a:t>
              </a:r>
              <a:endParaRPr lang="en-IN" sz="1100" dirty="0">
                <a:solidFill>
                  <a:srgbClr val="509AAF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87A4E56-7FB7-4943-AD9B-ED0678AAF144}"/>
                </a:ext>
              </a:extLst>
            </p:cNvPr>
            <p:cNvSpPr txBox="1"/>
            <p:nvPr/>
          </p:nvSpPr>
          <p:spPr>
            <a:xfrm>
              <a:off x="6737295" y="2046468"/>
              <a:ext cx="2534017" cy="1632181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t" anchorCtr="0">
              <a:noAutofit/>
            </a:bodyPr>
            <a:lstStyle/>
            <a:p>
              <a:pPr algn="r"/>
              <a:r>
                <a:rPr lang="en-US" sz="1100" dirty="0">
                  <a:solidFill>
                    <a:srgbClr val="509AAF"/>
                  </a:solidFill>
                  <a:latin typeface="IBM Plex Sans Light" panose="020B0403050203000203" pitchFamily="34" charset="0"/>
                </a:rPr>
                <a:t>This resource is a special form of labor provided by an entrepreneur. An entrepreneur is someone who is willing to risk his or her time and money to start or run a business—usually with the hope of earning a profit in return.</a:t>
              </a:r>
            </a:p>
            <a:p>
              <a:pPr algn="r"/>
              <a:endParaRPr lang="en-IN" sz="1100" dirty="0">
                <a:solidFill>
                  <a:srgbClr val="509AAF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15FC030-7ED0-4E12-81F9-A0B07FBF4DBB}"/>
                </a:ext>
              </a:extLst>
            </p:cNvPr>
            <p:cNvSpPr txBox="1"/>
            <p:nvPr/>
          </p:nvSpPr>
          <p:spPr>
            <a:xfrm>
              <a:off x="6677140" y="4473711"/>
              <a:ext cx="2593684" cy="1715426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t" anchorCtr="0">
              <a:noAutofit/>
            </a:bodyPr>
            <a:lstStyle/>
            <a:p>
              <a:pPr algn="r"/>
              <a:r>
                <a:rPr lang="en-US" sz="1100" dirty="0">
                  <a:solidFill>
                    <a:srgbClr val="509AAF"/>
                  </a:solidFill>
                  <a:latin typeface="IBM Plex Sans Light" panose="020B0403050203000203" pitchFamily="34" charset="0"/>
                </a:rPr>
                <a:t>Before we discuss capital, it’s important to point out that money is NOT a resource. Remember that resources need to be productive. They have to be used to make something else, and money can’t do that.</a:t>
              </a:r>
            </a:p>
            <a:p>
              <a:endParaRPr lang="en-IN" sz="1100" dirty="0">
                <a:solidFill>
                  <a:srgbClr val="509AAF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F9AD589-CAD0-4BAD-9847-E709A386A010}"/>
                </a:ext>
              </a:extLst>
            </p:cNvPr>
            <p:cNvSpPr txBox="1"/>
            <p:nvPr/>
          </p:nvSpPr>
          <p:spPr>
            <a:xfrm>
              <a:off x="727016" y="1502762"/>
              <a:ext cx="1937361" cy="333198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t" anchorCtr="0"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IBM Plex Sans Medium" panose="020B0603050203000203" pitchFamily="34" charset="0"/>
                </a:rPr>
                <a:t>Natural Resources</a:t>
              </a:r>
            </a:p>
            <a:p>
              <a:endParaRPr lang="en-IN" dirty="0">
                <a:solidFill>
                  <a:schemeClr val="bg1"/>
                </a:solidFill>
                <a:latin typeface="IBM Plex Sans Medium" panose="020B0603050203000203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95FD213D-7445-48AD-BF16-60B95B7F49CC}"/>
                </a:ext>
              </a:extLst>
            </p:cNvPr>
            <p:cNvSpPr txBox="1"/>
            <p:nvPr/>
          </p:nvSpPr>
          <p:spPr>
            <a:xfrm>
              <a:off x="7349149" y="1505085"/>
              <a:ext cx="1783633" cy="402954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t" anchorCtr="0"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IBM Plex Sans Medium" panose="020B0603050203000203" pitchFamily="34" charset="0"/>
                </a:rPr>
                <a:t>Entrepreneurship</a:t>
              </a:r>
            </a:p>
            <a:p>
              <a:endParaRPr lang="en-IN" dirty="0">
                <a:solidFill>
                  <a:schemeClr val="bg1"/>
                </a:solidFill>
                <a:latin typeface="IBM Plex Sans Medium" panose="020B0603050203000203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E04AE587-A876-49E8-8FFD-40C3B591DACB}"/>
                </a:ext>
              </a:extLst>
            </p:cNvPr>
            <p:cNvSpPr txBox="1"/>
            <p:nvPr/>
          </p:nvSpPr>
          <p:spPr>
            <a:xfrm>
              <a:off x="880960" y="3897832"/>
              <a:ext cx="1452630" cy="413118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t" anchorCtr="0"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IBM Plex Sans Medium" panose="020B0603050203000203" pitchFamily="34" charset="0"/>
                </a:rPr>
                <a:t>Labor</a:t>
              </a:r>
            </a:p>
            <a:p>
              <a:endParaRPr lang="en-IN" dirty="0">
                <a:solidFill>
                  <a:schemeClr val="bg1"/>
                </a:solidFill>
                <a:latin typeface="IBM Plex Sans Medium" panose="020B0603050203000203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17E3F707-2DA7-4CB0-9C76-EBB44F2D83DD}"/>
                </a:ext>
              </a:extLst>
            </p:cNvPr>
            <p:cNvSpPr txBox="1"/>
            <p:nvPr/>
          </p:nvSpPr>
          <p:spPr>
            <a:xfrm>
              <a:off x="7539910" y="3927497"/>
              <a:ext cx="1387278" cy="405169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t" anchorCtr="0"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IBM Plex Sans Medium" panose="020B0603050203000203" pitchFamily="34" charset="0"/>
                </a:rPr>
                <a:t>Capital</a:t>
              </a:r>
            </a:p>
            <a:p>
              <a:endParaRPr lang="en-IN" dirty="0">
                <a:solidFill>
                  <a:schemeClr val="bg1"/>
                </a:solidFill>
                <a:latin typeface="IBM Plex Sans Medium" panose="020B0603050203000203" pitchFamily="34" charset="0"/>
              </a:endParaRPr>
            </a:p>
          </p:txBody>
        </p:sp>
        <p:sp>
          <p:nvSpPr>
            <p:cNvPr id="67" name="Right Triangle 66">
              <a:extLst>
                <a:ext uri="{FF2B5EF4-FFF2-40B4-BE49-F238E27FC236}">
                  <a16:creationId xmlns:a16="http://schemas.microsoft.com/office/drawing/2014/main" id="{7E203D8A-7854-4B3F-A739-884A7104AB19}"/>
                </a:ext>
              </a:extLst>
            </p:cNvPr>
            <p:cNvSpPr/>
            <p:nvPr/>
          </p:nvSpPr>
          <p:spPr>
            <a:xfrm rot="16200000">
              <a:off x="2693988" y="1660623"/>
              <a:ext cx="2140022" cy="2286000"/>
            </a:xfrm>
            <a:prstGeom prst="rtTriangle">
              <a:avLst/>
            </a:prstGeom>
            <a:solidFill>
              <a:srgbClr val="7DD8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t" anchorCtr="0">
              <a:noAutofit/>
            </a:bodyPr>
            <a:lstStyle/>
            <a:p>
              <a:pPr algn="ctr"/>
              <a:endParaRPr lang="en-US" sz="1300" dirty="0">
                <a:solidFill>
                  <a:schemeClr val="tx1"/>
                </a:solidFill>
                <a:latin typeface="IBM Plex Sans Light" panose="020B0403050203000203" pitchFamily="34" charset="0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A3037D1-00AA-4DB5-AB8B-447DB4601234}"/>
                </a:ext>
              </a:extLst>
            </p:cNvPr>
            <p:cNvSpPr txBox="1"/>
            <p:nvPr/>
          </p:nvSpPr>
          <p:spPr>
            <a:xfrm>
              <a:off x="4038934" y="2896211"/>
              <a:ext cx="870498" cy="811775"/>
            </a:xfrm>
            <a:prstGeom prst="rect">
              <a:avLst/>
            </a:prstGeom>
            <a:noFill/>
          </p:spPr>
          <p:txBody>
            <a:bodyPr wrap="none" lIns="91440" tIns="91440" rIns="91440" bIns="91440" rtlCol="0" anchor="t" anchorCtr="0">
              <a:noAutofit/>
            </a:bodyPr>
            <a:lstStyle/>
            <a:p>
              <a:pPr algn="ctr"/>
              <a:r>
                <a:rPr lang="en-US" sz="3467" b="1" dirty="0">
                  <a:solidFill>
                    <a:schemeClr val="bg1"/>
                  </a:solidFill>
                  <a:latin typeface="IBM Plex Sans Light" panose="020B0403050203000203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999228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v8_7jyQeSDJAYgCNZm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wPIc3aS.SNnPMKHlPr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0_Basis presentation UK">
  <a:themeElements>
    <a:clrScheme name="Executive Advisors">
      <a:dk1>
        <a:srgbClr val="509AAF"/>
      </a:dk1>
      <a:lt1>
        <a:srgbClr val="FFFFFF"/>
      </a:lt1>
      <a:dk2>
        <a:srgbClr val="F5FFC3"/>
      </a:dk2>
      <a:lt2>
        <a:srgbClr val="7D7D7D"/>
      </a:lt2>
      <a:accent1>
        <a:srgbClr val="612C83"/>
      </a:accent1>
      <a:accent2>
        <a:srgbClr val="D2D2D2"/>
      </a:accent2>
      <a:accent3>
        <a:srgbClr val="BFBFBF"/>
      </a:accent3>
      <a:accent4>
        <a:srgbClr val="C2B5BF"/>
      </a:accent4>
      <a:accent5>
        <a:srgbClr val="303030"/>
      </a:accent5>
      <a:accent6>
        <a:srgbClr val="E7E7EC"/>
      </a:accent6>
      <a:hlink>
        <a:srgbClr val="8C8C8C"/>
      </a:hlink>
      <a:folHlink>
        <a:srgbClr val="000000"/>
      </a:folHlink>
    </a:clrScheme>
    <a:fontScheme name="Custom 1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509AAF"/>
        </a:solidFill>
        <a:ln w="12700">
          <a:noFill/>
          <a:round/>
          <a:headEnd/>
          <a:tailEnd/>
        </a:ln>
      </a:spPr>
      <a:bodyPr wrap="square" lIns="0" tIns="0" rIns="0" bIns="0" rtlCol="0" anchor="ctr">
        <a:noAutofit/>
      </a:bodyPr>
      <a:lstStyle>
        <a:defPPr algn="l">
          <a:defRPr dirty="0">
            <a:solidFill>
              <a:schemeClr val="tx2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M template new colors.pptx" id="{DBF6032C-74CD-4EB8-87D3-6A8A5ADA2D0A}" vid="{6B40890E-3518-4B1D-83AF-0511E7675902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ontortema">
  <a:themeElements>
    <a:clrScheme name="">
      <a:dk1>
        <a:srgbClr val="000066"/>
      </a:dk1>
      <a:lt1>
        <a:srgbClr val="FFFFFF"/>
      </a:lt1>
      <a:dk2>
        <a:srgbClr val="000066"/>
      </a:dk2>
      <a:lt2>
        <a:srgbClr val="000000"/>
      </a:lt2>
      <a:accent1>
        <a:srgbClr val="FFFFFF"/>
      </a:accent1>
      <a:accent2>
        <a:srgbClr val="CDCDCD"/>
      </a:accent2>
      <a:accent3>
        <a:srgbClr val="FFFFFF"/>
      </a:accent3>
      <a:accent4>
        <a:srgbClr val="000056"/>
      </a:accent4>
      <a:accent5>
        <a:srgbClr val="FFFFFF"/>
      </a:accent5>
      <a:accent6>
        <a:srgbClr val="BABABA"/>
      </a:accent6>
      <a:hlink>
        <a:srgbClr val="777777"/>
      </a:hlink>
      <a:folHlink>
        <a:srgbClr val="000066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9ED4FCBFFE2141BEF8D275EC8A6B1F" ma:contentTypeVersion="10" ma:contentTypeDescription="Create a new document." ma:contentTypeScope="" ma:versionID="101d727554ea68a1f860d78d9b6d0120">
  <xsd:schema xmlns:xsd="http://www.w3.org/2001/XMLSchema" xmlns:xs="http://www.w3.org/2001/XMLSchema" xmlns:p="http://schemas.microsoft.com/office/2006/metadata/properties" xmlns:ns2="76bd1358-98cb-4bc6-9b1c-3f3d760f5768" xmlns:ns3="7da3498b-f732-4cff-b8b6-6fbc0cd175e9" targetNamespace="http://schemas.microsoft.com/office/2006/metadata/properties" ma:root="true" ma:fieldsID="e7cae75dc3f9ee10ea3848f6ca6771a9" ns2:_="" ns3:_="">
    <xsd:import namespace="76bd1358-98cb-4bc6-9b1c-3f3d760f5768"/>
    <xsd:import namespace="7da3498b-f732-4cff-b8b6-6fbc0cd175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bd1358-98cb-4bc6-9b1c-3f3d760f57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3498b-f732-4cff-b8b6-6fbc0cd175e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F7512EF-4A56-47BD-98DF-E5835B8FBFFE}">
  <ds:schemaRefs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76bd1358-98cb-4bc6-9b1c-3f3d760f5768"/>
    <ds:schemaRef ds:uri="http://purl.org/dc/dcmitype/"/>
    <ds:schemaRef ds:uri="http://schemas.microsoft.com/office/2006/metadata/properties"/>
    <ds:schemaRef ds:uri="http://schemas.openxmlformats.org/package/2006/metadata/core-properties"/>
    <ds:schemaRef ds:uri="7da3498b-f732-4cff-b8b6-6fbc0cd175e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E5A6E97-AAA1-4285-AB20-2CE2C74C06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84949EB-D460-447E-BD5D-94A2AD359B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bd1358-98cb-4bc6-9b1c-3f3d760f5768"/>
    <ds:schemaRef ds:uri="7da3498b-f732-4cff-b8b6-6fbc0cd175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M template new colors</Template>
  <TotalTime>24954</TotalTime>
  <Words>387</Words>
  <Application>Microsoft Office PowerPoint</Application>
  <PresentationFormat>A4 Paper (210x297 mm)</PresentationFormat>
  <Paragraphs>7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9" baseType="lpstr">
      <vt:lpstr>IBM Plex Sans Light</vt:lpstr>
      <vt:lpstr>Raleway</vt:lpstr>
      <vt:lpstr>Poppins Medium</vt:lpstr>
      <vt:lpstr>IBM Plex Sans SemiBold</vt:lpstr>
      <vt:lpstr>Poppins</vt:lpstr>
      <vt:lpstr>Arial</vt:lpstr>
      <vt:lpstr>Calibri Light</vt:lpstr>
      <vt:lpstr>Open Sans</vt:lpstr>
      <vt:lpstr>IBM Plex Sans Medium</vt:lpstr>
      <vt:lpstr>Calibri</vt:lpstr>
      <vt:lpstr>2010_Basis presentation UK</vt:lpstr>
      <vt:lpstr>Custom Design</vt:lpstr>
      <vt:lpstr>think-cell Slide</vt:lpstr>
      <vt:lpstr>PowerPoint Presentation</vt:lpstr>
      <vt:lpstr>8 week Sprint – Project design guide</vt:lpstr>
      <vt:lpstr>PowerPoint Presentation</vt:lpstr>
      <vt:lpstr>Why Your Employees Are Quitting</vt:lpstr>
      <vt:lpstr>Most well-known media</vt:lpstr>
      <vt:lpstr>Resources businesses need </vt:lpstr>
    </vt:vector>
  </TitlesOfParts>
  <Company>no-m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ers Thomsen</dc:creator>
  <cp:lastModifiedBy>Himanshu singh</cp:lastModifiedBy>
  <cp:revision>972</cp:revision>
  <cp:lastPrinted>2016-08-13T15:57:21Z</cp:lastPrinted>
  <dcterms:created xsi:type="dcterms:W3CDTF">2016-08-13T12:33:55Z</dcterms:created>
  <dcterms:modified xsi:type="dcterms:W3CDTF">2021-11-13T12:1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106578</vt:lpwstr>
  </property>
  <property fmtid="{D5CDD505-2E9C-101B-9397-08002B2CF9AE}" pid="3" name="NXPowerLiteVersion">
    <vt:lpwstr>D4.1.1</vt:lpwstr>
  </property>
  <property fmtid="{D5CDD505-2E9C-101B-9397-08002B2CF9AE}" pid="4" name="ContentTypeId">
    <vt:lpwstr>0x010100AB9ED4FCBFFE2141BEF8D275EC8A6B1F</vt:lpwstr>
  </property>
</Properties>
</file>